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955" r:id="rId2"/>
    <p:sldId id="1159" r:id="rId3"/>
    <p:sldId id="1130" r:id="rId4"/>
    <p:sldId id="1166" r:id="rId5"/>
    <p:sldId id="1173" r:id="rId6"/>
    <p:sldId id="1161" r:id="rId7"/>
    <p:sldId id="1141" r:id="rId8"/>
    <p:sldId id="1154" r:id="rId9"/>
    <p:sldId id="1153" r:id="rId10"/>
    <p:sldId id="1162" r:id="rId11"/>
    <p:sldId id="1156" r:id="rId12"/>
    <p:sldId id="1172" r:id="rId13"/>
    <p:sldId id="1157" r:id="rId14"/>
    <p:sldId id="1145" r:id="rId15"/>
    <p:sldId id="1167" r:id="rId16"/>
    <p:sldId id="1170" r:id="rId17"/>
    <p:sldId id="1169" r:id="rId18"/>
    <p:sldId id="1168" r:id="rId19"/>
    <p:sldId id="1171" r:id="rId20"/>
    <p:sldId id="1164" r:id="rId2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DIQ Jawad" initials="SJ" lastIdx="3" clrIdx="0">
    <p:extLst>
      <p:ext uri="{19B8F6BF-5375-455C-9EA6-DF929625EA0E}">
        <p15:presenceInfo xmlns:p15="http://schemas.microsoft.com/office/powerpoint/2012/main" userId="S::j.sadiq@mmsp.gov.ma::68d51995-a56e-4851-ae5d-2d386a56ca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0" autoAdjust="0"/>
    <p:restoredTop sz="94291" autoAdjust="0"/>
  </p:normalViewPr>
  <p:slideViewPr>
    <p:cSldViewPr snapToGrid="0">
      <p:cViewPr varScale="1">
        <p:scale>
          <a:sx n="72" d="100"/>
          <a:sy n="72" d="100"/>
        </p:scale>
        <p:origin x="684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3AB67050-5148-4BBE-AA5C-76E3757299B9}">
      <dgm:prSet phldrT="[Texte]" custT="1"/>
      <dgm:spPr>
        <a:solidFill>
          <a:schemeClr val="tx1"/>
        </a:solidFill>
      </dgm:spPr>
      <dgm:t>
        <a:bodyPr anchor="t"/>
        <a:lstStyle/>
        <a:p>
          <a:endParaRPr lang="fr-MA" sz="1800" b="1" dirty="0">
            <a:solidFill>
              <a:schemeClr val="bg1"/>
            </a:solidFill>
          </a:endParaRPr>
        </a:p>
      </dgm:t>
    </dgm:pt>
    <dgm:pt modelId="{9FBCBCAB-0C0F-4560-AA44-4FEBD3E50267}" type="parTrans" cxnId="{6846DC38-87E2-4400-9DA8-BC7CBC5615A0}">
      <dgm:prSet/>
      <dgm:spPr/>
      <dgm:t>
        <a:bodyPr/>
        <a:lstStyle/>
        <a:p>
          <a:endParaRPr lang="fr-MA"/>
        </a:p>
      </dgm:t>
    </dgm:pt>
    <dgm:pt modelId="{80095FAE-A8C6-477B-8E5E-8C8B6E95106E}" type="sibTrans" cxnId="{6846DC38-87E2-4400-9DA8-BC7CBC5615A0}">
      <dgm:prSet/>
      <dgm:spPr/>
      <dgm:t>
        <a:bodyPr/>
        <a:lstStyle/>
        <a:p>
          <a:endParaRPr lang="fr-MA"/>
        </a:p>
      </dgm:t>
    </dgm:pt>
    <dgm:pt modelId="{14E524A9-9109-4603-8AC6-4CA4A56E8176}">
      <dgm:prSet/>
      <dgm:spPr/>
      <dgm:t>
        <a:bodyPr/>
        <a:lstStyle/>
        <a:p>
          <a:endParaRPr lang="fr-FR"/>
        </a:p>
      </dgm:t>
    </dgm:pt>
    <dgm:pt modelId="{C924448A-7135-40F1-B789-60C835FB128E}" type="parTrans" cxnId="{3C349D4B-237B-4619-BDE8-1EF704DFA305}">
      <dgm:prSet/>
      <dgm:spPr/>
      <dgm:t>
        <a:bodyPr/>
        <a:lstStyle/>
        <a:p>
          <a:endParaRPr lang="fr-MA"/>
        </a:p>
      </dgm:t>
    </dgm:pt>
    <dgm:pt modelId="{5E344643-F7D9-4B0A-B78D-173ACE023A6D}" type="sibTrans" cxnId="{3C349D4B-237B-4619-BDE8-1EF704DFA305}">
      <dgm:prSet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EA58C5-9BF1-48E4-BF9E-8456549F765D}" type="pres">
      <dgm:prSet presAssocID="{3AB67050-5148-4BBE-AA5C-76E3757299B9}" presName="centerShape" presStyleLbl="node0" presStyleIdx="0" presStyleCnt="1" custScaleX="97902" custScaleY="98338" custLinFactNeighborX="-1466" custLinFactNeighborY="-211"/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  <dgm:cxn modelId="{6846DC38-87E2-4400-9DA8-BC7CBC5615A0}" srcId="{CBBD30F8-DC86-41C6-A9DA-D4F071C11238}" destId="{3AB67050-5148-4BBE-AA5C-76E3757299B9}" srcOrd="0" destOrd="0" parTransId="{9FBCBCAB-0C0F-4560-AA44-4FEBD3E50267}" sibTransId="{80095FAE-A8C6-477B-8E5E-8C8B6E95106E}"/>
    <dgm:cxn modelId="{B45ADA1A-80A4-4727-B509-6E9C1FC40A48}" type="presOf" srcId="{3AB67050-5148-4BBE-AA5C-76E3757299B9}" destId="{34EA58C5-9BF1-48E4-BF9E-8456549F765D}" srcOrd="0" destOrd="0" presId="urn:microsoft.com/office/officeart/2005/8/layout/radial5"/>
    <dgm:cxn modelId="{3C349D4B-237B-4619-BDE8-1EF704DFA305}" srcId="{CBBD30F8-DC86-41C6-A9DA-D4F071C11238}" destId="{14E524A9-9109-4603-8AC6-4CA4A56E8176}" srcOrd="1" destOrd="0" parTransId="{C924448A-7135-40F1-B789-60C835FB128E}" sibTransId="{5E344643-F7D9-4B0A-B78D-173ACE023A6D}"/>
    <dgm:cxn modelId="{EDC83770-5037-49AF-9DE0-9FE656CBBF1D}" type="presParOf" srcId="{8E8A25A7-C3D2-4CA1-8CFA-7C07AFF7FD11}" destId="{34EA58C5-9BF1-48E4-BF9E-8456549F765D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C96A481-6460-4A73-9248-8685D009F954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03ACED38-7EA8-4817-B2B6-17CB9ED8303D}">
      <dgm:prSet phldrT="[Texte]" custT="1"/>
      <dgm:spPr/>
      <dgm:t>
        <a:bodyPr/>
        <a:lstStyle/>
        <a:p>
          <a:pPr algn="l"/>
          <a:r>
            <a:rPr lang="en-US" sz="2000" b="1" i="0" dirty="0"/>
            <a:t>high level of innovation and excellence</a:t>
          </a:r>
          <a:endParaRPr lang="fr-MA" sz="2000" b="1" dirty="0"/>
        </a:p>
      </dgm:t>
    </dgm:pt>
    <dgm:pt modelId="{DA0B9C65-37AD-4529-A7D6-0E27AD85D389}" type="parTrans" cxnId="{A1F81C03-D177-4FFC-8B51-9A6213B072B7}">
      <dgm:prSet/>
      <dgm:spPr/>
      <dgm:t>
        <a:bodyPr/>
        <a:lstStyle/>
        <a:p>
          <a:endParaRPr lang="fr-MA"/>
        </a:p>
      </dgm:t>
    </dgm:pt>
    <dgm:pt modelId="{B03534F7-EDAF-4073-8995-0F23F47F8970}" type="sibTrans" cxnId="{A1F81C03-D177-4FFC-8B51-9A6213B072B7}">
      <dgm:prSet/>
      <dgm:spPr/>
      <dgm:t>
        <a:bodyPr/>
        <a:lstStyle/>
        <a:p>
          <a:endParaRPr lang="fr-MA"/>
        </a:p>
      </dgm:t>
    </dgm:pt>
    <dgm:pt modelId="{83180EDD-3171-4826-AE60-2E3D2067AD40}">
      <dgm:prSet phldrT="[Texte]" custT="1"/>
      <dgm:spPr>
        <a:solidFill>
          <a:srgbClr val="002060">
            <a:alpha val="90000"/>
          </a:srgbClr>
        </a:solidFill>
      </dgm:spPr>
      <dgm:t>
        <a:bodyPr/>
        <a:lstStyle/>
        <a:p>
          <a:pPr algn="l"/>
          <a:r>
            <a:rPr lang="fr-MA" sz="2800" b="1" dirty="0">
              <a:solidFill>
                <a:schemeClr val="bg1"/>
              </a:solidFill>
            </a:rPr>
            <a:t>Cometency-based management</a:t>
          </a:r>
        </a:p>
      </dgm:t>
    </dgm:pt>
    <dgm:pt modelId="{257A4D31-F9E0-4993-81B0-B4D923C44CC3}" type="parTrans" cxnId="{0A3E915F-0754-4FA1-9F96-95F80F1AA11E}">
      <dgm:prSet/>
      <dgm:spPr/>
      <dgm:t>
        <a:bodyPr/>
        <a:lstStyle/>
        <a:p>
          <a:endParaRPr lang="fr-MA"/>
        </a:p>
      </dgm:t>
    </dgm:pt>
    <dgm:pt modelId="{AD378BEB-F1C5-4A12-A2B6-2B94B8EB9997}" type="sibTrans" cxnId="{0A3E915F-0754-4FA1-9F96-95F80F1AA11E}">
      <dgm:prSet/>
      <dgm:spPr/>
      <dgm:t>
        <a:bodyPr/>
        <a:lstStyle/>
        <a:p>
          <a:endParaRPr lang="fr-MA"/>
        </a:p>
      </dgm:t>
    </dgm:pt>
    <dgm:pt modelId="{45CA2D44-1583-47F8-88BD-8211CC2FAE95}">
      <dgm:prSet phldrT="[Texte]" custT="1"/>
      <dgm:spPr/>
      <dgm:t>
        <a:bodyPr/>
        <a:lstStyle/>
        <a:p>
          <a:pPr algn="l"/>
          <a:r>
            <a:rPr lang="fr-MA" sz="20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Promotion of the </a:t>
          </a:r>
          <a:r>
            <a:rPr lang="fr-MA" sz="2400" b="1" kern="1200" dirty="0" err="1">
              <a:solidFill>
                <a:srgbClr val="FF0000"/>
              </a:solidFill>
              <a:latin typeface="Calibri" panose="020F0502020204030204"/>
              <a:ea typeface="+mn-ea"/>
              <a:cs typeface="+mn-cs"/>
            </a:rPr>
            <a:t>atractivity</a:t>
          </a:r>
          <a:r>
            <a:rPr lang="fr-MA" sz="2000" b="1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alibri" panose="020F0502020204030204"/>
              <a:ea typeface="+mn-ea"/>
              <a:cs typeface="+mn-cs"/>
            </a:rPr>
            <a:t> of public administration</a:t>
          </a:r>
        </a:p>
      </dgm:t>
    </dgm:pt>
    <dgm:pt modelId="{E5E1D656-FF18-4E91-AD28-A9207B2F34F1}" type="parTrans" cxnId="{2C7E3392-3D59-4D28-80B3-983F55BEF859}">
      <dgm:prSet/>
      <dgm:spPr/>
      <dgm:t>
        <a:bodyPr/>
        <a:lstStyle/>
        <a:p>
          <a:endParaRPr lang="fr-MA"/>
        </a:p>
      </dgm:t>
    </dgm:pt>
    <dgm:pt modelId="{774468A6-59DA-4820-8A31-5178A97D8AA2}" type="sibTrans" cxnId="{2C7E3392-3D59-4D28-80B3-983F55BEF859}">
      <dgm:prSet/>
      <dgm:spPr/>
      <dgm:t>
        <a:bodyPr/>
        <a:lstStyle/>
        <a:p>
          <a:endParaRPr lang="fr-MA"/>
        </a:p>
      </dgm:t>
    </dgm:pt>
    <dgm:pt modelId="{8152CC5F-60D7-4657-8E63-D1E3D7AB59E4}" type="pres">
      <dgm:prSet presAssocID="{4C96A481-6460-4A73-9248-8685D009F954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en-US"/>
        </a:p>
      </dgm:t>
    </dgm:pt>
    <dgm:pt modelId="{9B285A76-90E4-42F2-9F92-57EDA1AAE8B0}" type="pres">
      <dgm:prSet presAssocID="{4C96A481-6460-4A73-9248-8685D009F954}" presName="pyramid" presStyleLbl="node1" presStyleIdx="0" presStyleCnt="1" custLinFactNeighborX="-23554" custLinFactNeighborY="-7219"/>
      <dgm:spPr/>
    </dgm:pt>
    <dgm:pt modelId="{5E588A5B-7FAA-4721-B43C-227D7811669B}" type="pres">
      <dgm:prSet presAssocID="{4C96A481-6460-4A73-9248-8685D009F954}" presName="theList" presStyleCnt="0"/>
      <dgm:spPr/>
    </dgm:pt>
    <dgm:pt modelId="{A8957D0D-2930-44AC-95FC-9A674B18A648}" type="pres">
      <dgm:prSet presAssocID="{03ACED38-7EA8-4817-B2B6-17CB9ED8303D}" presName="aNode" presStyleLbl="fgAcc1" presStyleIdx="0" presStyleCnt="3" custScaleX="2372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699E807-32C7-4C40-A34B-5ED271D0F681}" type="pres">
      <dgm:prSet presAssocID="{03ACED38-7EA8-4817-B2B6-17CB9ED8303D}" presName="aSpace" presStyleCnt="0"/>
      <dgm:spPr/>
    </dgm:pt>
    <dgm:pt modelId="{9728691C-0905-4694-8B4C-C09E02D91C40}" type="pres">
      <dgm:prSet presAssocID="{83180EDD-3171-4826-AE60-2E3D2067AD40}" presName="aNode" presStyleLbl="fgAcc1" presStyleIdx="1" presStyleCnt="3" custScaleX="235425" custLinFactY="100000" custLinFactNeighborX="0" custLinFactNeighborY="17569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501F17-4E06-43C5-A306-30E4EEEC3115}" type="pres">
      <dgm:prSet presAssocID="{83180EDD-3171-4826-AE60-2E3D2067AD40}" presName="aSpace" presStyleCnt="0"/>
      <dgm:spPr/>
    </dgm:pt>
    <dgm:pt modelId="{F30EB598-9408-4B2F-9085-15DD308CEFB3}" type="pres">
      <dgm:prSet presAssocID="{45CA2D44-1583-47F8-88BD-8211CC2FAE95}" presName="aNode" presStyleLbl="fgAcc1" presStyleIdx="2" presStyleCnt="3" custScaleX="235425" custLinFactY="-95520" custLinFactNeighborX="0" custLinFactNeighborY="-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09780EF-66E6-4024-976A-0F76F602D5A1}" type="pres">
      <dgm:prSet presAssocID="{45CA2D44-1583-47F8-88BD-8211CC2FAE95}" presName="aSpace" presStyleCnt="0"/>
      <dgm:spPr/>
    </dgm:pt>
  </dgm:ptLst>
  <dgm:cxnLst>
    <dgm:cxn modelId="{32FB31E1-04F6-4DFD-B846-9345032AD11A}" type="presOf" srcId="{45CA2D44-1583-47F8-88BD-8211CC2FAE95}" destId="{F30EB598-9408-4B2F-9085-15DD308CEFB3}" srcOrd="0" destOrd="0" presId="urn:microsoft.com/office/officeart/2005/8/layout/pyramid2"/>
    <dgm:cxn modelId="{C0A57C0C-E3BD-4059-9365-FD3E809E1DA3}" type="presOf" srcId="{4C96A481-6460-4A73-9248-8685D009F954}" destId="{8152CC5F-60D7-4657-8E63-D1E3D7AB59E4}" srcOrd="0" destOrd="0" presId="urn:microsoft.com/office/officeart/2005/8/layout/pyramid2"/>
    <dgm:cxn modelId="{0A3E915F-0754-4FA1-9F96-95F80F1AA11E}" srcId="{4C96A481-6460-4A73-9248-8685D009F954}" destId="{83180EDD-3171-4826-AE60-2E3D2067AD40}" srcOrd="1" destOrd="0" parTransId="{257A4D31-F9E0-4993-81B0-B4D923C44CC3}" sibTransId="{AD378BEB-F1C5-4A12-A2B6-2B94B8EB9997}"/>
    <dgm:cxn modelId="{4D4A6772-6A91-4856-8A90-944769A5BBF1}" type="presOf" srcId="{83180EDD-3171-4826-AE60-2E3D2067AD40}" destId="{9728691C-0905-4694-8B4C-C09E02D91C40}" srcOrd="0" destOrd="0" presId="urn:microsoft.com/office/officeart/2005/8/layout/pyramid2"/>
    <dgm:cxn modelId="{2C7E3392-3D59-4D28-80B3-983F55BEF859}" srcId="{4C96A481-6460-4A73-9248-8685D009F954}" destId="{45CA2D44-1583-47F8-88BD-8211CC2FAE95}" srcOrd="2" destOrd="0" parTransId="{E5E1D656-FF18-4E91-AD28-A9207B2F34F1}" sibTransId="{774468A6-59DA-4820-8A31-5178A97D8AA2}"/>
    <dgm:cxn modelId="{9026FE51-F622-4716-B175-61BC5C9BB5CB}" type="presOf" srcId="{03ACED38-7EA8-4817-B2B6-17CB9ED8303D}" destId="{A8957D0D-2930-44AC-95FC-9A674B18A648}" srcOrd="0" destOrd="0" presId="urn:microsoft.com/office/officeart/2005/8/layout/pyramid2"/>
    <dgm:cxn modelId="{A1F81C03-D177-4FFC-8B51-9A6213B072B7}" srcId="{4C96A481-6460-4A73-9248-8685D009F954}" destId="{03ACED38-7EA8-4817-B2B6-17CB9ED8303D}" srcOrd="0" destOrd="0" parTransId="{DA0B9C65-37AD-4529-A7D6-0E27AD85D389}" sibTransId="{B03534F7-EDAF-4073-8995-0F23F47F8970}"/>
    <dgm:cxn modelId="{EDEEF176-CEBB-4E3D-BB23-8DBB2A45870A}" type="presParOf" srcId="{8152CC5F-60D7-4657-8E63-D1E3D7AB59E4}" destId="{9B285A76-90E4-42F2-9F92-57EDA1AAE8B0}" srcOrd="0" destOrd="0" presId="urn:microsoft.com/office/officeart/2005/8/layout/pyramid2"/>
    <dgm:cxn modelId="{C2FDF08A-AEF8-45C5-85AA-4B34397CB12C}" type="presParOf" srcId="{8152CC5F-60D7-4657-8E63-D1E3D7AB59E4}" destId="{5E588A5B-7FAA-4721-B43C-227D7811669B}" srcOrd="1" destOrd="0" presId="urn:microsoft.com/office/officeart/2005/8/layout/pyramid2"/>
    <dgm:cxn modelId="{5CE40454-70B8-4DC1-852C-55F2182DBAA4}" type="presParOf" srcId="{5E588A5B-7FAA-4721-B43C-227D7811669B}" destId="{A8957D0D-2930-44AC-95FC-9A674B18A648}" srcOrd="0" destOrd="0" presId="urn:microsoft.com/office/officeart/2005/8/layout/pyramid2"/>
    <dgm:cxn modelId="{B9D94AA4-85BB-47A4-86DD-457F139835BD}" type="presParOf" srcId="{5E588A5B-7FAA-4721-B43C-227D7811669B}" destId="{B699E807-32C7-4C40-A34B-5ED271D0F681}" srcOrd="1" destOrd="0" presId="urn:microsoft.com/office/officeart/2005/8/layout/pyramid2"/>
    <dgm:cxn modelId="{8B48AA21-286B-4353-969A-FF1625329A55}" type="presParOf" srcId="{5E588A5B-7FAA-4721-B43C-227D7811669B}" destId="{9728691C-0905-4694-8B4C-C09E02D91C40}" srcOrd="2" destOrd="0" presId="urn:microsoft.com/office/officeart/2005/8/layout/pyramid2"/>
    <dgm:cxn modelId="{94BC1BDC-EBF6-434B-8103-C2335AE310F0}" type="presParOf" srcId="{5E588A5B-7FAA-4721-B43C-227D7811669B}" destId="{DB501F17-4E06-43C5-A306-30E4EEEC3115}" srcOrd="3" destOrd="0" presId="urn:microsoft.com/office/officeart/2005/8/layout/pyramid2"/>
    <dgm:cxn modelId="{C7B1B941-391F-490F-A1AF-BB4E92ACBE72}" type="presParOf" srcId="{5E588A5B-7FAA-4721-B43C-227D7811669B}" destId="{F30EB598-9408-4B2F-9085-15DD308CEFB3}" srcOrd="4" destOrd="0" presId="urn:microsoft.com/office/officeart/2005/8/layout/pyramid2"/>
    <dgm:cxn modelId="{109238F5-7C36-41D1-8124-9F7B3C2F36E8}" type="presParOf" srcId="{5E588A5B-7FAA-4721-B43C-227D7811669B}" destId="{F09780EF-66E6-4024-976A-0F76F602D5A1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3AB67050-5148-4BBE-AA5C-76E3757299B9}">
      <dgm:prSet phldrT="[Texte]" custT="1"/>
      <dgm:spPr>
        <a:solidFill>
          <a:schemeClr val="tx1"/>
        </a:solidFill>
      </dgm:spPr>
      <dgm:t>
        <a:bodyPr/>
        <a:lstStyle/>
        <a:p>
          <a:r>
            <a:rPr lang="fr-FR" sz="1800" b="1" dirty="0">
              <a:solidFill>
                <a:schemeClr val="bg1"/>
              </a:solidFill>
            </a:rPr>
            <a:t>ATRACTIVITY</a:t>
          </a:r>
        </a:p>
      </dgm:t>
    </dgm:pt>
    <dgm:pt modelId="{9FBCBCAB-0C0F-4560-AA44-4FEBD3E50267}" type="parTrans" cxnId="{6846DC38-87E2-4400-9DA8-BC7CBC5615A0}">
      <dgm:prSet/>
      <dgm:spPr/>
      <dgm:t>
        <a:bodyPr/>
        <a:lstStyle/>
        <a:p>
          <a:endParaRPr lang="fr-MA"/>
        </a:p>
      </dgm:t>
    </dgm:pt>
    <dgm:pt modelId="{80095FAE-A8C6-477B-8E5E-8C8B6E95106E}" type="sibTrans" cxnId="{6846DC38-87E2-4400-9DA8-BC7CBC5615A0}">
      <dgm:prSet/>
      <dgm:spPr/>
      <dgm:t>
        <a:bodyPr/>
        <a:lstStyle/>
        <a:p>
          <a:endParaRPr lang="fr-MA"/>
        </a:p>
      </dgm:t>
    </dgm:pt>
    <dgm:pt modelId="{5490BB2C-AC12-491F-BFEA-BF503391C96B}">
      <dgm:prSet phldrT="[Texte]"/>
      <dgm:spPr>
        <a:ln>
          <a:solidFill>
            <a:srgbClr val="0070C0"/>
          </a:solidFill>
        </a:ln>
      </dgm:spPr>
      <dgm:t>
        <a:bodyPr/>
        <a:lstStyle/>
        <a:p>
          <a:r>
            <a:rPr lang="fr-FR" b="1" dirty="0"/>
            <a:t>flexibility</a:t>
          </a:r>
          <a:endParaRPr lang="fr-MA" b="1" dirty="0"/>
        </a:p>
      </dgm:t>
    </dgm:pt>
    <dgm:pt modelId="{C42D71D3-0BAF-4E28-9F5D-42576896E3C4}" type="parTrans" cxnId="{08328016-B913-4363-ADB9-4B885386DF63}">
      <dgm:prSet/>
      <dgm:spPr/>
      <dgm:t>
        <a:bodyPr/>
        <a:lstStyle/>
        <a:p>
          <a:endParaRPr lang="fr-MA"/>
        </a:p>
      </dgm:t>
    </dgm:pt>
    <dgm:pt modelId="{ED2B3C23-B82C-420D-93C8-5ED05E8D05F6}" type="sibTrans" cxnId="{08328016-B913-4363-ADB9-4B885386DF63}">
      <dgm:prSet/>
      <dgm:spPr/>
      <dgm:t>
        <a:bodyPr/>
        <a:lstStyle/>
        <a:p>
          <a:endParaRPr lang="fr-MA"/>
        </a:p>
      </dgm:t>
    </dgm:pt>
    <dgm:pt modelId="{14E524A9-9109-4603-8AC6-4CA4A56E8176}">
      <dgm:prSet/>
      <dgm:spPr/>
      <dgm:t>
        <a:bodyPr/>
        <a:lstStyle/>
        <a:p>
          <a:endParaRPr lang="fr-FR"/>
        </a:p>
      </dgm:t>
    </dgm:pt>
    <dgm:pt modelId="{C924448A-7135-40F1-B789-60C835FB128E}" type="parTrans" cxnId="{3C349D4B-237B-4619-BDE8-1EF704DFA305}">
      <dgm:prSet/>
      <dgm:spPr/>
      <dgm:t>
        <a:bodyPr/>
        <a:lstStyle/>
        <a:p>
          <a:endParaRPr lang="fr-MA"/>
        </a:p>
      </dgm:t>
    </dgm:pt>
    <dgm:pt modelId="{5E344643-F7D9-4B0A-B78D-173ACE023A6D}" type="sibTrans" cxnId="{3C349D4B-237B-4619-BDE8-1EF704DFA305}">
      <dgm:prSet/>
      <dgm:spPr/>
      <dgm:t>
        <a:bodyPr/>
        <a:lstStyle/>
        <a:p>
          <a:endParaRPr lang="fr-MA"/>
        </a:p>
      </dgm:t>
    </dgm:pt>
    <dgm:pt modelId="{3C22A218-C379-4E87-8E20-E3AAD3465534}">
      <dgm:prSet phldrT="[Texte]"/>
      <dgm:spPr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fr-FR" b="1" dirty="0"/>
            <a:t>ethics</a:t>
          </a:r>
          <a:endParaRPr lang="fr-MA" b="1" dirty="0"/>
        </a:p>
      </dgm:t>
    </dgm:pt>
    <dgm:pt modelId="{F094E9B4-99AF-4C0B-BF45-04A6810C9279}" type="parTrans" cxnId="{6ECD1329-E960-4FF0-9F6B-352D219DE67A}">
      <dgm:prSet/>
      <dgm:spPr/>
      <dgm:t>
        <a:bodyPr/>
        <a:lstStyle/>
        <a:p>
          <a:endParaRPr lang="fr-MA"/>
        </a:p>
      </dgm:t>
    </dgm:pt>
    <dgm:pt modelId="{2B67A11C-D788-4EE0-8CC2-5BE11DEB614F}" type="sibTrans" cxnId="{6ECD1329-E960-4FF0-9F6B-352D219DE67A}">
      <dgm:prSet/>
      <dgm:spPr/>
      <dgm:t>
        <a:bodyPr/>
        <a:lstStyle/>
        <a:p>
          <a:endParaRPr lang="fr-MA"/>
        </a:p>
      </dgm:t>
    </dgm:pt>
    <dgm:pt modelId="{1AF0C298-FBC5-4D7B-853F-3B4287656D79}">
      <dgm:prSet/>
      <dgm:spPr/>
      <dgm:t>
        <a:bodyPr/>
        <a:lstStyle/>
        <a:p>
          <a:endParaRPr lang="fr-FR"/>
        </a:p>
      </dgm:t>
    </dgm:pt>
    <dgm:pt modelId="{B85D0912-CB2D-4335-8CF4-3641C195E9F7}" type="parTrans" cxnId="{0FB9346D-46BF-4CC2-AB93-491BD97A65F6}">
      <dgm:prSet/>
      <dgm:spPr/>
      <dgm:t>
        <a:bodyPr/>
        <a:lstStyle/>
        <a:p>
          <a:endParaRPr lang="fr-FR"/>
        </a:p>
      </dgm:t>
    </dgm:pt>
    <dgm:pt modelId="{3B97176B-0D24-43ED-87CD-64B0222E9E10}" type="sibTrans" cxnId="{0FB9346D-46BF-4CC2-AB93-491BD97A65F6}">
      <dgm:prSet/>
      <dgm:spPr/>
      <dgm:t>
        <a:bodyPr/>
        <a:lstStyle/>
        <a:p>
          <a:endParaRPr lang="fr-FR"/>
        </a:p>
      </dgm:t>
    </dgm:pt>
    <dgm:pt modelId="{4E89A9CD-A0FB-4CE5-B819-14947E0D2964}">
      <dgm:prSet custT="1"/>
      <dgm:spPr>
        <a:solidFill>
          <a:srgbClr val="002060"/>
        </a:solidFill>
      </dgm:spPr>
      <dgm:t>
        <a:bodyPr/>
        <a:lstStyle/>
        <a:p>
          <a:r>
            <a:rPr lang="fr-FR" sz="2000" b="1" dirty="0">
              <a:solidFill>
                <a:schemeClr val="bg1"/>
              </a:solidFill>
            </a:rPr>
            <a:t>improvement of delivery  and innovation   </a:t>
          </a:r>
          <a:endParaRPr lang="fr-MA" sz="2000" b="1" dirty="0">
            <a:solidFill>
              <a:schemeClr val="bg1"/>
            </a:solidFill>
          </a:endParaRPr>
        </a:p>
      </dgm:t>
    </dgm:pt>
    <dgm:pt modelId="{E0F6CA90-F605-4EA1-8435-6798E91F03E7}" type="parTrans" cxnId="{38081E19-4656-458E-8AA2-EE3EE96A575A}">
      <dgm:prSet/>
      <dgm:spPr>
        <a:solidFill>
          <a:srgbClr val="002060"/>
        </a:solidFill>
      </dgm:spPr>
      <dgm:t>
        <a:bodyPr/>
        <a:lstStyle/>
        <a:p>
          <a:endParaRPr lang="fr-FR"/>
        </a:p>
      </dgm:t>
    </dgm:pt>
    <dgm:pt modelId="{A78C0A7A-0D50-480C-9127-0BBAE46AAC06}" type="sibTrans" cxnId="{38081E19-4656-458E-8AA2-EE3EE96A575A}">
      <dgm:prSet/>
      <dgm:spPr/>
      <dgm:t>
        <a:bodyPr/>
        <a:lstStyle/>
        <a:p>
          <a:endParaRPr lang="fr-FR"/>
        </a:p>
      </dgm:t>
    </dgm:pt>
    <dgm:pt modelId="{CB135149-4989-40A4-B17B-D5E3F98B77CB}">
      <dgm:prSet custRadScaleRad="127113" custRadScaleInc="40762"/>
      <dgm:spPr/>
      <dgm:t>
        <a:bodyPr/>
        <a:lstStyle/>
        <a:p>
          <a:endParaRPr lang="fr-FR"/>
        </a:p>
      </dgm:t>
    </dgm:pt>
    <dgm:pt modelId="{566BE1F6-DE46-4973-94A1-A1A7CCDF364C}" type="parTrans" cxnId="{49681657-5BF2-4469-AAF6-817FE3659351}">
      <dgm:prSet custScaleX="167103" custLinFactNeighborX="0" custLinFactNeighborY="0"/>
      <dgm:spPr/>
      <dgm:t>
        <a:bodyPr/>
        <a:lstStyle/>
        <a:p>
          <a:endParaRPr lang="fr-FR"/>
        </a:p>
      </dgm:t>
    </dgm:pt>
    <dgm:pt modelId="{8C516D92-AB0A-42CD-A29E-4FF537CB661A}" type="sibTrans" cxnId="{49681657-5BF2-4469-AAF6-817FE3659351}">
      <dgm:prSet/>
      <dgm:spPr/>
      <dgm:t>
        <a:bodyPr/>
        <a:lstStyle/>
        <a:p>
          <a:endParaRPr lang="fr-FR"/>
        </a:p>
      </dgm:t>
    </dgm:pt>
    <dgm:pt modelId="{2D15B192-5C39-4186-A5E4-C4C1727CB9FE}">
      <dgm:prSet phldrT="[Texte]"/>
      <dgm:spPr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fr-MA" b="1" dirty="0"/>
            <a:t>Creation of an inclusive envirenment</a:t>
          </a:r>
        </a:p>
      </dgm:t>
    </dgm:pt>
    <dgm:pt modelId="{75096F52-7569-4DC7-9EC2-BB9979156DC3}" type="parTrans" cxnId="{08CCDF8C-1B7B-4559-AF33-A48265837A20}">
      <dgm:prSet/>
      <dgm:spPr/>
      <dgm:t>
        <a:bodyPr/>
        <a:lstStyle/>
        <a:p>
          <a:endParaRPr lang="fr-FR"/>
        </a:p>
      </dgm:t>
    </dgm:pt>
    <dgm:pt modelId="{C8CB3C0F-FDD5-444E-AAC1-50A6574931D8}" type="sibTrans" cxnId="{08CCDF8C-1B7B-4559-AF33-A48265837A20}">
      <dgm:prSet/>
      <dgm:spPr/>
      <dgm:t>
        <a:bodyPr/>
        <a:lstStyle/>
        <a:p>
          <a:endParaRPr lang="fr-FR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EA58C5-9BF1-48E4-BF9E-8456549F765D}" type="pres">
      <dgm:prSet presAssocID="{3AB67050-5148-4BBE-AA5C-76E3757299B9}" presName="centerShape" presStyleLbl="node0" presStyleIdx="0" presStyleCnt="1" custScaleX="163171" custScaleY="116558" custLinFactNeighborX="43605" custLinFactNeighborY="-8681"/>
      <dgm:spPr/>
      <dgm:t>
        <a:bodyPr/>
        <a:lstStyle/>
        <a:p>
          <a:endParaRPr lang="en-US"/>
        </a:p>
      </dgm:t>
    </dgm:pt>
    <dgm:pt modelId="{AC3B2270-256E-4875-B404-309C91A0B3C6}" type="pres">
      <dgm:prSet presAssocID="{C42D71D3-0BAF-4E28-9F5D-42576896E3C4}" presName="parTrans" presStyleLbl="sibTrans2D1" presStyleIdx="0" presStyleCnt="4" custAng="10800000" custScaleX="168991" custLinFactNeighborX="0"/>
      <dgm:spPr/>
      <dgm:t>
        <a:bodyPr/>
        <a:lstStyle/>
        <a:p>
          <a:endParaRPr lang="en-US"/>
        </a:p>
      </dgm:t>
    </dgm:pt>
    <dgm:pt modelId="{11402AFF-1EB1-4A62-9FE1-C77A41310BFB}" type="pres">
      <dgm:prSet presAssocID="{C42D71D3-0BAF-4E28-9F5D-42576896E3C4}" presName="connectorText" presStyleLbl="sibTrans2D1" presStyleIdx="0" presStyleCnt="4"/>
      <dgm:spPr/>
      <dgm:t>
        <a:bodyPr/>
        <a:lstStyle/>
        <a:p>
          <a:endParaRPr lang="en-US"/>
        </a:p>
      </dgm:t>
    </dgm:pt>
    <dgm:pt modelId="{E13D312C-980F-4740-95F5-973DED23E687}" type="pres">
      <dgm:prSet presAssocID="{5490BB2C-AC12-491F-BFEA-BF503391C96B}" presName="node" presStyleLbl="node1" presStyleIdx="0" presStyleCnt="4" custScaleX="121509" custRadScaleRad="144109" custRadScaleInc="3244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9FAEA4-5E91-4867-AD0B-B5BF65A5FA61}" type="pres">
      <dgm:prSet presAssocID="{E0F6CA90-F605-4EA1-8435-6798E91F03E7}" presName="parTrans" presStyleLbl="sibTrans2D1" presStyleIdx="1" presStyleCnt="4" custScaleX="167103" custLinFactNeighborX="0" custLinFactNeighborY="0"/>
      <dgm:spPr/>
      <dgm:t>
        <a:bodyPr/>
        <a:lstStyle/>
        <a:p>
          <a:endParaRPr lang="en-US"/>
        </a:p>
      </dgm:t>
    </dgm:pt>
    <dgm:pt modelId="{49BB677F-4219-416E-A94C-B576A73C3C0B}" type="pres">
      <dgm:prSet presAssocID="{E0F6CA90-F605-4EA1-8435-6798E91F03E7}" presName="connectorText" presStyleLbl="sibTrans2D1" presStyleIdx="1" presStyleCnt="4"/>
      <dgm:spPr/>
      <dgm:t>
        <a:bodyPr/>
        <a:lstStyle/>
        <a:p>
          <a:endParaRPr lang="en-US"/>
        </a:p>
      </dgm:t>
    </dgm:pt>
    <dgm:pt modelId="{84A5424B-51C6-4F48-8528-F78D3E3CDB1C}" type="pres">
      <dgm:prSet presAssocID="{4E89A9CD-A0FB-4CE5-B819-14947E0D2964}" presName="node" presStyleLbl="node1" presStyleIdx="1" presStyleCnt="4" custScaleX="164615" custScaleY="161367" custRadScaleRad="194666" custRadScaleInc="-4453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016E5E-4E47-4F90-BF2A-6754F9517451}" type="pres">
      <dgm:prSet presAssocID="{F094E9B4-99AF-4C0B-BF45-04A6810C9279}" presName="parTrans" presStyleLbl="sibTrans2D1" presStyleIdx="2" presStyleCnt="4" custAng="10078132" custScaleX="185377"/>
      <dgm:spPr/>
      <dgm:t>
        <a:bodyPr/>
        <a:lstStyle/>
        <a:p>
          <a:endParaRPr lang="en-US"/>
        </a:p>
      </dgm:t>
    </dgm:pt>
    <dgm:pt modelId="{042DD018-BF0E-465F-9AC4-E9716CB81EA1}" type="pres">
      <dgm:prSet presAssocID="{F094E9B4-99AF-4C0B-BF45-04A6810C9279}" presName="connectorText" presStyleLbl="sibTrans2D1" presStyleIdx="2" presStyleCnt="4"/>
      <dgm:spPr/>
      <dgm:t>
        <a:bodyPr/>
        <a:lstStyle/>
        <a:p>
          <a:endParaRPr lang="en-US"/>
        </a:p>
      </dgm:t>
    </dgm:pt>
    <dgm:pt modelId="{10B3D554-DE75-4D34-80AD-2E8F2A8F702C}" type="pres">
      <dgm:prSet presAssocID="{3C22A218-C379-4E87-8E20-E3AAD3465534}" presName="node" presStyleLbl="node1" presStyleIdx="2" presStyleCnt="4" custScaleX="93997" custScaleY="118033" custRadScaleRad="80033" custRadScaleInc="62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BBCFDB-D449-4EC5-97C3-6C8EFFF3E1A4}" type="pres">
      <dgm:prSet presAssocID="{75096F52-7569-4DC7-9EC2-BB9979156DC3}" presName="parTrans" presStyleLbl="sibTrans2D1" presStyleIdx="3" presStyleCnt="4" custAng="10527740" custScaleX="146008" custLinFactNeighborX="0" custLinFactNeighborY="13589"/>
      <dgm:spPr/>
      <dgm:t>
        <a:bodyPr/>
        <a:lstStyle/>
        <a:p>
          <a:endParaRPr lang="en-US"/>
        </a:p>
      </dgm:t>
    </dgm:pt>
    <dgm:pt modelId="{D2A3B8A9-B537-4D5C-83E4-C29A42AD704E}" type="pres">
      <dgm:prSet presAssocID="{75096F52-7569-4DC7-9EC2-BB9979156DC3}" presName="connectorText" presStyleLbl="sibTrans2D1" presStyleIdx="3" presStyleCnt="4"/>
      <dgm:spPr/>
      <dgm:t>
        <a:bodyPr/>
        <a:lstStyle/>
        <a:p>
          <a:endParaRPr lang="en-US"/>
        </a:p>
      </dgm:t>
    </dgm:pt>
    <dgm:pt modelId="{D0A6D4E5-D84F-4F81-AEAA-9B2B8B22213B}" type="pres">
      <dgm:prSet presAssocID="{2D15B192-5C39-4186-A5E4-C4C1727CB9FE}" presName="node" presStyleLbl="node1" presStyleIdx="3" presStyleCnt="4" custRadScaleRad="85703" custRadScaleInc="22168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0732A31-B725-4BCA-B3A2-A852F20493C0}" type="presOf" srcId="{4E89A9CD-A0FB-4CE5-B819-14947E0D2964}" destId="{84A5424B-51C6-4F48-8528-F78D3E3CDB1C}" srcOrd="0" destOrd="0" presId="urn:microsoft.com/office/officeart/2005/8/layout/radial5"/>
    <dgm:cxn modelId="{49681657-5BF2-4469-AAF6-817FE3659351}" srcId="{CBBD30F8-DC86-41C6-A9DA-D4F071C11238}" destId="{CB135149-4989-40A4-B17B-D5E3F98B77CB}" srcOrd="3" destOrd="0" parTransId="{566BE1F6-DE46-4973-94A1-A1A7CCDF364C}" sibTransId="{8C516D92-AB0A-42CD-A29E-4FF537CB661A}"/>
    <dgm:cxn modelId="{3C349D4B-237B-4619-BDE8-1EF704DFA305}" srcId="{CBBD30F8-DC86-41C6-A9DA-D4F071C11238}" destId="{14E524A9-9109-4603-8AC6-4CA4A56E8176}" srcOrd="1" destOrd="0" parTransId="{C924448A-7135-40F1-B789-60C835FB128E}" sibTransId="{5E344643-F7D9-4B0A-B78D-173ACE023A6D}"/>
    <dgm:cxn modelId="{6846DC38-87E2-4400-9DA8-BC7CBC5615A0}" srcId="{CBBD30F8-DC86-41C6-A9DA-D4F071C11238}" destId="{3AB67050-5148-4BBE-AA5C-76E3757299B9}" srcOrd="0" destOrd="0" parTransId="{9FBCBCAB-0C0F-4560-AA44-4FEBD3E50267}" sibTransId="{80095FAE-A8C6-477B-8E5E-8C8B6E95106E}"/>
    <dgm:cxn modelId="{26E5EB53-2B86-43FF-81F1-6C28ED7E384E}" type="presOf" srcId="{F094E9B4-99AF-4C0B-BF45-04A6810C9279}" destId="{042DD018-BF0E-465F-9AC4-E9716CB81EA1}" srcOrd="1" destOrd="0" presId="urn:microsoft.com/office/officeart/2005/8/layout/radial5"/>
    <dgm:cxn modelId="{8BBF1D1F-3EA3-4750-B93D-A4F8ADB3535F}" type="presOf" srcId="{E0F6CA90-F605-4EA1-8435-6798E91F03E7}" destId="{49BB677F-4219-416E-A94C-B576A73C3C0B}" srcOrd="1" destOrd="0" presId="urn:microsoft.com/office/officeart/2005/8/layout/radial5"/>
    <dgm:cxn modelId="{B45ADA1A-80A4-4727-B509-6E9C1FC40A48}" type="presOf" srcId="{3AB67050-5148-4BBE-AA5C-76E3757299B9}" destId="{34EA58C5-9BF1-48E4-BF9E-8456549F765D}" srcOrd="0" destOrd="0" presId="urn:microsoft.com/office/officeart/2005/8/layout/radial5"/>
    <dgm:cxn modelId="{04D08C8C-7708-471A-A43E-6515D6ED00B8}" type="presOf" srcId="{C42D71D3-0BAF-4E28-9F5D-42576896E3C4}" destId="{11402AFF-1EB1-4A62-9FE1-C77A41310BFB}" srcOrd="1" destOrd="0" presId="urn:microsoft.com/office/officeart/2005/8/layout/radial5"/>
    <dgm:cxn modelId="{08CCDF8C-1B7B-4559-AF33-A48265837A20}" srcId="{3AB67050-5148-4BBE-AA5C-76E3757299B9}" destId="{2D15B192-5C39-4186-A5E4-C4C1727CB9FE}" srcOrd="3" destOrd="0" parTransId="{75096F52-7569-4DC7-9EC2-BB9979156DC3}" sibTransId="{C8CB3C0F-FDD5-444E-AAC1-50A6574931D8}"/>
    <dgm:cxn modelId="{8176BC07-FFE6-4F0E-838B-1A8E2D858977}" type="presOf" srcId="{75096F52-7569-4DC7-9EC2-BB9979156DC3}" destId="{D2A3B8A9-B537-4D5C-83E4-C29A42AD704E}" srcOrd="1" destOrd="0" presId="urn:microsoft.com/office/officeart/2005/8/layout/radial5"/>
    <dgm:cxn modelId="{F90515E1-2F40-4832-875A-B0FDF3B484DE}" type="presOf" srcId="{E0F6CA90-F605-4EA1-8435-6798E91F03E7}" destId="{7C9FAEA4-5E91-4867-AD0B-B5BF65A5FA61}" srcOrd="0" destOrd="0" presId="urn:microsoft.com/office/officeart/2005/8/layout/radial5"/>
    <dgm:cxn modelId="{298FC629-F32D-4C0D-8F31-74AE2CB88323}" type="presOf" srcId="{C42D71D3-0BAF-4E28-9F5D-42576896E3C4}" destId="{AC3B2270-256E-4875-B404-309C91A0B3C6}" srcOrd="0" destOrd="0" presId="urn:microsoft.com/office/officeart/2005/8/layout/radial5"/>
    <dgm:cxn modelId="{5215DED9-CEB0-426F-9476-515DE5DAE755}" type="presOf" srcId="{5490BB2C-AC12-491F-BFEA-BF503391C96B}" destId="{E13D312C-980F-4740-95F5-973DED23E687}" srcOrd="0" destOrd="0" presId="urn:microsoft.com/office/officeart/2005/8/layout/radial5"/>
    <dgm:cxn modelId="{81C22505-444D-4EA2-8454-9E50F3354571}" type="presOf" srcId="{3C22A218-C379-4E87-8E20-E3AAD3465534}" destId="{10B3D554-DE75-4D34-80AD-2E8F2A8F702C}" srcOrd="0" destOrd="0" presId="urn:microsoft.com/office/officeart/2005/8/layout/radial5"/>
    <dgm:cxn modelId="{38081E19-4656-458E-8AA2-EE3EE96A575A}" srcId="{3AB67050-5148-4BBE-AA5C-76E3757299B9}" destId="{4E89A9CD-A0FB-4CE5-B819-14947E0D2964}" srcOrd="1" destOrd="0" parTransId="{E0F6CA90-F605-4EA1-8435-6798E91F03E7}" sibTransId="{A78C0A7A-0D50-480C-9127-0BBAE46AAC06}"/>
    <dgm:cxn modelId="{0FB9346D-46BF-4CC2-AB93-491BD97A65F6}" srcId="{CBBD30F8-DC86-41C6-A9DA-D4F071C11238}" destId="{1AF0C298-FBC5-4D7B-853F-3B4287656D79}" srcOrd="2" destOrd="0" parTransId="{B85D0912-CB2D-4335-8CF4-3641C195E9F7}" sibTransId="{3B97176B-0D24-43ED-87CD-64B0222E9E10}"/>
    <dgm:cxn modelId="{D11700BA-CFC8-463F-B4B0-0981C104528D}" type="presOf" srcId="{2D15B192-5C39-4186-A5E4-C4C1727CB9FE}" destId="{D0A6D4E5-D84F-4F81-AEAA-9B2B8B22213B}" srcOrd="0" destOrd="0" presId="urn:microsoft.com/office/officeart/2005/8/layout/radial5"/>
    <dgm:cxn modelId="{2A5D516E-4E76-4024-A4F2-75AB56EF7CC5}" type="presOf" srcId="{75096F52-7569-4DC7-9EC2-BB9979156DC3}" destId="{30BBCFDB-D449-4EC5-97C3-6C8EFFF3E1A4}" srcOrd="0" destOrd="0" presId="urn:microsoft.com/office/officeart/2005/8/layout/radial5"/>
    <dgm:cxn modelId="{6ECD1329-E960-4FF0-9F6B-352D219DE67A}" srcId="{3AB67050-5148-4BBE-AA5C-76E3757299B9}" destId="{3C22A218-C379-4E87-8E20-E3AAD3465534}" srcOrd="2" destOrd="0" parTransId="{F094E9B4-99AF-4C0B-BF45-04A6810C9279}" sibTransId="{2B67A11C-D788-4EE0-8CC2-5BE11DEB614F}"/>
    <dgm:cxn modelId="{08328016-B913-4363-ADB9-4B885386DF63}" srcId="{3AB67050-5148-4BBE-AA5C-76E3757299B9}" destId="{5490BB2C-AC12-491F-BFEA-BF503391C96B}" srcOrd="0" destOrd="0" parTransId="{C42D71D3-0BAF-4E28-9F5D-42576896E3C4}" sibTransId="{ED2B3C23-B82C-420D-93C8-5ED05E8D05F6}"/>
    <dgm:cxn modelId="{11B3CEA9-4762-4AEA-8C8A-C02FA4824F12}" type="presOf" srcId="{CBBD30F8-DC86-41C6-A9DA-D4F071C11238}" destId="{8E8A25A7-C3D2-4CA1-8CFA-7C07AFF7FD11}" srcOrd="0" destOrd="0" presId="urn:microsoft.com/office/officeart/2005/8/layout/radial5"/>
    <dgm:cxn modelId="{9F943535-BA04-4F13-BDCE-62FA82C0361A}" type="presOf" srcId="{F094E9B4-99AF-4C0B-BF45-04A6810C9279}" destId="{57016E5E-4E47-4F90-BF2A-6754F9517451}" srcOrd="0" destOrd="0" presId="urn:microsoft.com/office/officeart/2005/8/layout/radial5"/>
    <dgm:cxn modelId="{EDC83770-5037-49AF-9DE0-9FE656CBBF1D}" type="presParOf" srcId="{8E8A25A7-C3D2-4CA1-8CFA-7C07AFF7FD11}" destId="{34EA58C5-9BF1-48E4-BF9E-8456549F765D}" srcOrd="0" destOrd="0" presId="urn:microsoft.com/office/officeart/2005/8/layout/radial5"/>
    <dgm:cxn modelId="{58031C08-F81A-47D9-A26F-4A2296B6051F}" type="presParOf" srcId="{8E8A25A7-C3D2-4CA1-8CFA-7C07AFF7FD11}" destId="{AC3B2270-256E-4875-B404-309C91A0B3C6}" srcOrd="1" destOrd="0" presId="urn:microsoft.com/office/officeart/2005/8/layout/radial5"/>
    <dgm:cxn modelId="{2986B8D8-8FC0-4A17-A662-4E58F3BD1745}" type="presParOf" srcId="{AC3B2270-256E-4875-B404-309C91A0B3C6}" destId="{11402AFF-1EB1-4A62-9FE1-C77A41310BFB}" srcOrd="0" destOrd="0" presId="urn:microsoft.com/office/officeart/2005/8/layout/radial5"/>
    <dgm:cxn modelId="{7BA55B73-423B-4076-A01F-54C7CB25B40B}" type="presParOf" srcId="{8E8A25A7-C3D2-4CA1-8CFA-7C07AFF7FD11}" destId="{E13D312C-980F-4740-95F5-973DED23E687}" srcOrd="2" destOrd="0" presId="urn:microsoft.com/office/officeart/2005/8/layout/radial5"/>
    <dgm:cxn modelId="{DFCACFF5-89F8-4CFA-B829-DF04BDCD5EC2}" type="presParOf" srcId="{8E8A25A7-C3D2-4CA1-8CFA-7C07AFF7FD11}" destId="{7C9FAEA4-5E91-4867-AD0B-B5BF65A5FA61}" srcOrd="3" destOrd="0" presId="urn:microsoft.com/office/officeart/2005/8/layout/radial5"/>
    <dgm:cxn modelId="{5355FB74-8150-450B-89AA-13B2348638AD}" type="presParOf" srcId="{7C9FAEA4-5E91-4867-AD0B-B5BF65A5FA61}" destId="{49BB677F-4219-416E-A94C-B576A73C3C0B}" srcOrd="0" destOrd="0" presId="urn:microsoft.com/office/officeart/2005/8/layout/radial5"/>
    <dgm:cxn modelId="{2EE41DA3-BDF1-48D3-8112-E215D9DBC21F}" type="presParOf" srcId="{8E8A25A7-C3D2-4CA1-8CFA-7C07AFF7FD11}" destId="{84A5424B-51C6-4F48-8528-F78D3E3CDB1C}" srcOrd="4" destOrd="0" presId="urn:microsoft.com/office/officeart/2005/8/layout/radial5"/>
    <dgm:cxn modelId="{2FF62ACD-A637-4591-A58F-BA48BEF67208}" type="presParOf" srcId="{8E8A25A7-C3D2-4CA1-8CFA-7C07AFF7FD11}" destId="{57016E5E-4E47-4F90-BF2A-6754F9517451}" srcOrd="5" destOrd="0" presId="urn:microsoft.com/office/officeart/2005/8/layout/radial5"/>
    <dgm:cxn modelId="{D3764E38-22BF-44BC-BE2A-6DDAB4761A14}" type="presParOf" srcId="{57016E5E-4E47-4F90-BF2A-6754F9517451}" destId="{042DD018-BF0E-465F-9AC4-E9716CB81EA1}" srcOrd="0" destOrd="0" presId="urn:microsoft.com/office/officeart/2005/8/layout/radial5"/>
    <dgm:cxn modelId="{BA54FD4A-1B9D-4DE2-91B8-7FFC2F083F88}" type="presParOf" srcId="{8E8A25A7-C3D2-4CA1-8CFA-7C07AFF7FD11}" destId="{10B3D554-DE75-4D34-80AD-2E8F2A8F702C}" srcOrd="6" destOrd="0" presId="urn:microsoft.com/office/officeart/2005/8/layout/radial5"/>
    <dgm:cxn modelId="{5502BD42-8FA1-49D7-A983-1D919D420207}" type="presParOf" srcId="{8E8A25A7-C3D2-4CA1-8CFA-7C07AFF7FD11}" destId="{30BBCFDB-D449-4EC5-97C3-6C8EFFF3E1A4}" srcOrd="7" destOrd="0" presId="urn:microsoft.com/office/officeart/2005/8/layout/radial5"/>
    <dgm:cxn modelId="{B9941D69-338D-4B28-975E-B368AC557FBE}" type="presParOf" srcId="{30BBCFDB-D449-4EC5-97C3-6C8EFFF3E1A4}" destId="{D2A3B8A9-B537-4D5C-83E4-C29A42AD704E}" srcOrd="0" destOrd="0" presId="urn:microsoft.com/office/officeart/2005/8/layout/radial5"/>
    <dgm:cxn modelId="{843862E8-2910-44D2-93EC-567071AB31E0}" type="presParOf" srcId="{8E8A25A7-C3D2-4CA1-8CFA-7C07AFF7FD11}" destId="{D0A6D4E5-D84F-4F81-AEAA-9B2B8B22213B}" srcOrd="8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3AB67050-5148-4BBE-AA5C-76E3757299B9}">
      <dgm:prSet phldrT="[Texte]" custT="1"/>
      <dgm:spPr>
        <a:solidFill>
          <a:srgbClr val="002060"/>
        </a:solidFill>
      </dgm:spPr>
      <dgm:t>
        <a:bodyPr anchor="t"/>
        <a:lstStyle/>
        <a:p>
          <a:endParaRPr lang="fr-MA" sz="1800" b="1" dirty="0">
            <a:solidFill>
              <a:schemeClr val="bg1"/>
            </a:solidFill>
          </a:endParaRPr>
        </a:p>
      </dgm:t>
    </dgm:pt>
    <dgm:pt modelId="{9FBCBCAB-0C0F-4560-AA44-4FEBD3E50267}" type="parTrans" cxnId="{6846DC38-87E2-4400-9DA8-BC7CBC5615A0}">
      <dgm:prSet/>
      <dgm:spPr/>
      <dgm:t>
        <a:bodyPr/>
        <a:lstStyle/>
        <a:p>
          <a:endParaRPr lang="fr-MA"/>
        </a:p>
      </dgm:t>
    </dgm:pt>
    <dgm:pt modelId="{80095FAE-A8C6-477B-8E5E-8C8B6E95106E}" type="sibTrans" cxnId="{6846DC38-87E2-4400-9DA8-BC7CBC5615A0}">
      <dgm:prSet/>
      <dgm:spPr/>
      <dgm:t>
        <a:bodyPr/>
        <a:lstStyle/>
        <a:p>
          <a:endParaRPr lang="fr-MA"/>
        </a:p>
      </dgm:t>
    </dgm:pt>
    <dgm:pt modelId="{14E524A9-9109-4603-8AC6-4CA4A56E8176}">
      <dgm:prSet/>
      <dgm:spPr/>
      <dgm:t>
        <a:bodyPr/>
        <a:lstStyle/>
        <a:p>
          <a:endParaRPr lang="fr-FR"/>
        </a:p>
      </dgm:t>
    </dgm:pt>
    <dgm:pt modelId="{C924448A-7135-40F1-B789-60C835FB128E}" type="parTrans" cxnId="{3C349D4B-237B-4619-BDE8-1EF704DFA305}">
      <dgm:prSet/>
      <dgm:spPr/>
      <dgm:t>
        <a:bodyPr/>
        <a:lstStyle/>
        <a:p>
          <a:endParaRPr lang="fr-MA"/>
        </a:p>
      </dgm:t>
    </dgm:pt>
    <dgm:pt modelId="{5E344643-F7D9-4B0A-B78D-173ACE023A6D}" type="sibTrans" cxnId="{3C349D4B-237B-4619-BDE8-1EF704DFA305}">
      <dgm:prSet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EA58C5-9BF1-48E4-BF9E-8456549F765D}" type="pres">
      <dgm:prSet presAssocID="{3AB67050-5148-4BBE-AA5C-76E3757299B9}" presName="centerShape" presStyleLbl="node0" presStyleIdx="0" presStyleCnt="1" custScaleX="122673" custScaleY="68147" custLinFactNeighborX="-2001" custLinFactNeighborY="-1597"/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  <dgm:cxn modelId="{6846DC38-87E2-4400-9DA8-BC7CBC5615A0}" srcId="{CBBD30F8-DC86-41C6-A9DA-D4F071C11238}" destId="{3AB67050-5148-4BBE-AA5C-76E3757299B9}" srcOrd="0" destOrd="0" parTransId="{9FBCBCAB-0C0F-4560-AA44-4FEBD3E50267}" sibTransId="{80095FAE-A8C6-477B-8E5E-8C8B6E95106E}"/>
    <dgm:cxn modelId="{B45ADA1A-80A4-4727-B509-6E9C1FC40A48}" type="presOf" srcId="{3AB67050-5148-4BBE-AA5C-76E3757299B9}" destId="{34EA58C5-9BF1-48E4-BF9E-8456549F765D}" srcOrd="0" destOrd="0" presId="urn:microsoft.com/office/officeart/2005/8/layout/radial5"/>
    <dgm:cxn modelId="{3C349D4B-237B-4619-BDE8-1EF704DFA305}" srcId="{CBBD30F8-DC86-41C6-A9DA-D4F071C11238}" destId="{14E524A9-9109-4603-8AC6-4CA4A56E8176}" srcOrd="1" destOrd="0" parTransId="{C924448A-7135-40F1-B789-60C835FB128E}" sibTransId="{5E344643-F7D9-4B0A-B78D-173ACE023A6D}"/>
    <dgm:cxn modelId="{EDC83770-5037-49AF-9DE0-9FE656CBBF1D}" type="presParOf" srcId="{8E8A25A7-C3D2-4CA1-8CFA-7C07AFF7FD11}" destId="{34EA58C5-9BF1-48E4-BF9E-8456549F765D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3AB67050-5148-4BBE-AA5C-76E3757299B9}">
      <dgm:prSet phldrT="[Texte]" custT="1"/>
      <dgm:spPr>
        <a:solidFill>
          <a:srgbClr val="002060"/>
        </a:solidFill>
      </dgm:spPr>
      <dgm:t>
        <a:bodyPr anchor="t"/>
        <a:lstStyle/>
        <a:p>
          <a:endParaRPr lang="fr-MA" sz="1800" b="1" dirty="0">
            <a:solidFill>
              <a:schemeClr val="bg1"/>
            </a:solidFill>
          </a:endParaRPr>
        </a:p>
      </dgm:t>
    </dgm:pt>
    <dgm:pt modelId="{9FBCBCAB-0C0F-4560-AA44-4FEBD3E50267}" type="parTrans" cxnId="{6846DC38-87E2-4400-9DA8-BC7CBC5615A0}">
      <dgm:prSet/>
      <dgm:spPr/>
      <dgm:t>
        <a:bodyPr/>
        <a:lstStyle/>
        <a:p>
          <a:endParaRPr lang="fr-MA"/>
        </a:p>
      </dgm:t>
    </dgm:pt>
    <dgm:pt modelId="{80095FAE-A8C6-477B-8E5E-8C8B6E95106E}" type="sibTrans" cxnId="{6846DC38-87E2-4400-9DA8-BC7CBC5615A0}">
      <dgm:prSet/>
      <dgm:spPr/>
      <dgm:t>
        <a:bodyPr/>
        <a:lstStyle/>
        <a:p>
          <a:endParaRPr lang="fr-MA"/>
        </a:p>
      </dgm:t>
    </dgm:pt>
    <dgm:pt modelId="{14E524A9-9109-4603-8AC6-4CA4A56E8176}">
      <dgm:prSet/>
      <dgm:spPr/>
      <dgm:t>
        <a:bodyPr/>
        <a:lstStyle/>
        <a:p>
          <a:endParaRPr lang="fr-FR"/>
        </a:p>
      </dgm:t>
    </dgm:pt>
    <dgm:pt modelId="{C924448A-7135-40F1-B789-60C835FB128E}" type="parTrans" cxnId="{3C349D4B-237B-4619-BDE8-1EF704DFA305}">
      <dgm:prSet/>
      <dgm:spPr/>
      <dgm:t>
        <a:bodyPr/>
        <a:lstStyle/>
        <a:p>
          <a:endParaRPr lang="fr-MA"/>
        </a:p>
      </dgm:t>
    </dgm:pt>
    <dgm:pt modelId="{5E344643-F7D9-4B0A-B78D-173ACE023A6D}" type="sibTrans" cxnId="{3C349D4B-237B-4619-BDE8-1EF704DFA305}">
      <dgm:prSet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EA58C5-9BF1-48E4-BF9E-8456549F765D}" type="pres">
      <dgm:prSet presAssocID="{3AB67050-5148-4BBE-AA5C-76E3757299B9}" presName="centerShape" presStyleLbl="node0" presStyleIdx="0" presStyleCnt="1" custScaleX="117736" custScaleY="60081" custLinFactNeighborX="-2001" custLinFactNeighborY="-1597"/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  <dgm:cxn modelId="{6846DC38-87E2-4400-9DA8-BC7CBC5615A0}" srcId="{CBBD30F8-DC86-41C6-A9DA-D4F071C11238}" destId="{3AB67050-5148-4BBE-AA5C-76E3757299B9}" srcOrd="0" destOrd="0" parTransId="{9FBCBCAB-0C0F-4560-AA44-4FEBD3E50267}" sibTransId="{80095FAE-A8C6-477B-8E5E-8C8B6E95106E}"/>
    <dgm:cxn modelId="{B45ADA1A-80A4-4727-B509-6E9C1FC40A48}" type="presOf" srcId="{3AB67050-5148-4BBE-AA5C-76E3757299B9}" destId="{34EA58C5-9BF1-48E4-BF9E-8456549F765D}" srcOrd="0" destOrd="0" presId="urn:microsoft.com/office/officeart/2005/8/layout/radial5"/>
    <dgm:cxn modelId="{3C349D4B-237B-4619-BDE8-1EF704DFA305}" srcId="{CBBD30F8-DC86-41C6-A9DA-D4F071C11238}" destId="{14E524A9-9109-4603-8AC6-4CA4A56E8176}" srcOrd="1" destOrd="0" parTransId="{C924448A-7135-40F1-B789-60C835FB128E}" sibTransId="{5E344643-F7D9-4B0A-B78D-173ACE023A6D}"/>
    <dgm:cxn modelId="{EDC83770-5037-49AF-9DE0-9FE656CBBF1D}" type="presParOf" srcId="{8E8A25A7-C3D2-4CA1-8CFA-7C07AFF7FD11}" destId="{34EA58C5-9BF1-48E4-BF9E-8456549F765D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3AB67050-5148-4BBE-AA5C-76E3757299B9}">
      <dgm:prSet phldrT="[Texte]" custT="1"/>
      <dgm:spPr>
        <a:solidFill>
          <a:srgbClr val="002060"/>
        </a:solidFill>
      </dgm:spPr>
      <dgm:t>
        <a:bodyPr anchor="t"/>
        <a:lstStyle/>
        <a:p>
          <a:endParaRPr lang="fr-MA" sz="1800" b="1" dirty="0">
            <a:solidFill>
              <a:schemeClr val="bg1"/>
            </a:solidFill>
          </a:endParaRPr>
        </a:p>
      </dgm:t>
    </dgm:pt>
    <dgm:pt modelId="{9FBCBCAB-0C0F-4560-AA44-4FEBD3E50267}" type="parTrans" cxnId="{6846DC38-87E2-4400-9DA8-BC7CBC5615A0}">
      <dgm:prSet/>
      <dgm:spPr/>
      <dgm:t>
        <a:bodyPr/>
        <a:lstStyle/>
        <a:p>
          <a:endParaRPr lang="fr-MA"/>
        </a:p>
      </dgm:t>
    </dgm:pt>
    <dgm:pt modelId="{80095FAE-A8C6-477B-8E5E-8C8B6E95106E}" type="sibTrans" cxnId="{6846DC38-87E2-4400-9DA8-BC7CBC5615A0}">
      <dgm:prSet/>
      <dgm:spPr/>
      <dgm:t>
        <a:bodyPr/>
        <a:lstStyle/>
        <a:p>
          <a:endParaRPr lang="fr-MA"/>
        </a:p>
      </dgm:t>
    </dgm:pt>
    <dgm:pt modelId="{14E524A9-9109-4603-8AC6-4CA4A56E8176}">
      <dgm:prSet/>
      <dgm:spPr/>
      <dgm:t>
        <a:bodyPr/>
        <a:lstStyle/>
        <a:p>
          <a:endParaRPr lang="fr-FR"/>
        </a:p>
      </dgm:t>
    </dgm:pt>
    <dgm:pt modelId="{C924448A-7135-40F1-B789-60C835FB128E}" type="parTrans" cxnId="{3C349D4B-237B-4619-BDE8-1EF704DFA305}">
      <dgm:prSet/>
      <dgm:spPr/>
      <dgm:t>
        <a:bodyPr/>
        <a:lstStyle/>
        <a:p>
          <a:endParaRPr lang="fr-MA"/>
        </a:p>
      </dgm:t>
    </dgm:pt>
    <dgm:pt modelId="{5E344643-F7D9-4B0A-B78D-173ACE023A6D}" type="sibTrans" cxnId="{3C349D4B-237B-4619-BDE8-1EF704DFA305}">
      <dgm:prSet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4EA58C5-9BF1-48E4-BF9E-8456549F765D}" type="pres">
      <dgm:prSet presAssocID="{3AB67050-5148-4BBE-AA5C-76E3757299B9}" presName="centerShape" presStyleLbl="node0" presStyleIdx="0" presStyleCnt="1" custScaleX="117736" custScaleY="66246" custLinFactNeighborX="-2001" custLinFactNeighborY="-1597"/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  <dgm:cxn modelId="{6846DC38-87E2-4400-9DA8-BC7CBC5615A0}" srcId="{CBBD30F8-DC86-41C6-A9DA-D4F071C11238}" destId="{3AB67050-5148-4BBE-AA5C-76E3757299B9}" srcOrd="0" destOrd="0" parTransId="{9FBCBCAB-0C0F-4560-AA44-4FEBD3E50267}" sibTransId="{80095FAE-A8C6-477B-8E5E-8C8B6E95106E}"/>
    <dgm:cxn modelId="{B45ADA1A-80A4-4727-B509-6E9C1FC40A48}" type="presOf" srcId="{3AB67050-5148-4BBE-AA5C-76E3757299B9}" destId="{34EA58C5-9BF1-48E4-BF9E-8456549F765D}" srcOrd="0" destOrd="0" presId="urn:microsoft.com/office/officeart/2005/8/layout/radial5"/>
    <dgm:cxn modelId="{3C349D4B-237B-4619-BDE8-1EF704DFA305}" srcId="{CBBD30F8-DC86-41C6-A9DA-D4F071C11238}" destId="{14E524A9-9109-4603-8AC6-4CA4A56E8176}" srcOrd="1" destOrd="0" parTransId="{C924448A-7135-40F1-B789-60C835FB128E}" sibTransId="{5E344643-F7D9-4B0A-B78D-173ACE023A6D}"/>
    <dgm:cxn modelId="{EDC83770-5037-49AF-9DE0-9FE656CBBF1D}" type="presParOf" srcId="{8E8A25A7-C3D2-4CA1-8CFA-7C07AFF7FD11}" destId="{34EA58C5-9BF1-48E4-BF9E-8456549F765D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CBBD30F8-DC86-41C6-A9DA-D4F071C11238}" type="doc">
      <dgm:prSet loTypeId="urn:microsoft.com/office/officeart/2005/8/layout/radial5" loCatId="cycle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fr-MA"/>
        </a:p>
      </dgm:t>
    </dgm:pt>
    <dgm:pt modelId="{8E8A25A7-C3D2-4CA1-8CFA-7C07AFF7FD11}" type="pres">
      <dgm:prSet presAssocID="{CBBD30F8-DC86-41C6-A9DA-D4F071C11238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</dgm:ptLst>
  <dgm:cxnLst>
    <dgm:cxn modelId="{11B3CEA9-4762-4AEA-8C8A-C02FA4824F12}" type="presOf" srcId="{CBBD30F8-DC86-41C6-A9DA-D4F071C11238}" destId="{8E8A25A7-C3D2-4CA1-8CFA-7C07AFF7FD11}" srcOrd="0" destOrd="0" presId="urn:microsoft.com/office/officeart/2005/8/layout/radial5"/>
  </dgm:cxnLst>
  <dgm:bg>
    <a:solidFill>
      <a:srgbClr val="FFFFFF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707A8C7-E6FF-44A1-B8C1-C611153B771D}" type="datetimeFigureOut">
              <a:rPr lang="fr-MA" smtClean="0"/>
              <a:t>29/11/2021</a:t>
            </a:fld>
            <a:endParaRPr lang="fr-M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MA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M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B8D9C7-4839-444B-B29D-2B60C8FCCB82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29893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dirty="0">
              <a:latin typeface="Arial" charset="0"/>
              <a:cs typeface="Arial" charset="0"/>
            </a:endParaRPr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514C35-7ECF-459B-A7E9-90B25794D791}" type="slidenum">
              <a:rPr lang="fr-FR" smtClean="0">
                <a:cs typeface="Arial" charset="0"/>
              </a:rPr>
              <a:pPr/>
              <a:t>1</a:t>
            </a:fld>
            <a:endParaRPr lang="fr-FR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769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B8D9C7-4839-444B-B29D-2B60C8FCCB82}" type="slidenum">
              <a:rPr lang="fr-MA" smtClean="0"/>
              <a:t>7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063824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1F51F95-0E97-4011-ABF1-228A1DB225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xmlns="" id="{A0832847-A7AD-4B31-8A3D-45874AE21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fr-M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AAA60779-5EF7-490A-A33B-C2151967B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4D209D-CDF7-46B1-A595-31DDF136F14A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F356DB6C-8EE8-4736-B675-89BC9C683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F1DBC5B7-9140-436D-821C-02872B6397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9952417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7E1A96DD-CB28-4487-B7EA-C6D72B985E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xmlns="" id="{B1D7C998-E8E4-42FC-84B4-9DB9F1E7B7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F3A632FF-84C6-4A79-9E9E-AA442DA79E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B78B8-1C06-4B7F-8FD2-FE40A5B0376F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87022E05-ABD3-464D-8D86-7CFB74B020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DE7179C0-2B86-4604-8D24-6B0B63864B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3345188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xmlns="" id="{2CC181EA-B526-4EB1-89E2-FC9757B5C8C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xmlns="" id="{311BCD85-C641-4F4C-8D8A-98DD3B435A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C23DE1BC-E5EA-4618-BDDD-4F69A4CEB5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9248DE-DCF1-4A10-8C89-A819FDD40365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CA83DDDD-618A-49AD-B803-67A17912B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6AD2A5E2-B632-44DA-B3D2-D7414A0D72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5849593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ver 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Location, date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1506462" y="6206400"/>
            <a:ext cx="7948800" cy="214674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500" b="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 dirty="0"/>
              <a:t>Location, date of presentation (month, day, year)</a:t>
            </a:r>
          </a:p>
        </p:txBody>
      </p:sp>
      <p:sp>
        <p:nvSpPr>
          <p:cNvPr id="4" name="Client name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506462" y="5414401"/>
            <a:ext cx="7948800" cy="486543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1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  <a:lvl2pPr>
              <a:defRPr sz="2100" b="1"/>
            </a:lvl2pPr>
            <a:lvl3pPr>
              <a:defRPr sz="2100" b="1"/>
            </a:lvl3pPr>
            <a:lvl4pPr>
              <a:defRPr sz="2100" b="1"/>
            </a:lvl4pPr>
            <a:lvl5pPr>
              <a:defRPr sz="2100" b="1"/>
            </a:lvl5pPr>
          </a:lstStyle>
          <a:p>
            <a:pPr lvl="0"/>
            <a:r>
              <a:rPr lang="en-US" dirty="0"/>
              <a:t>Client name</a:t>
            </a:r>
            <a:br>
              <a:rPr lang="en-US" dirty="0"/>
            </a:br>
            <a:r>
              <a:rPr lang="en-US" dirty="0"/>
              <a:t>(max. Two lines, 17 pt.)</a:t>
            </a:r>
          </a:p>
        </p:txBody>
      </p:sp>
      <p:sp>
        <p:nvSpPr>
          <p:cNvPr id="5" name="Type of document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1506462" y="4734000"/>
            <a:ext cx="7948800" cy="243272"/>
          </a:xfrm>
        </p:spPr>
        <p:txBody>
          <a:bodyPr/>
          <a:lstStyle>
            <a:lvl1pPr marL="0" indent="0">
              <a:lnSpc>
                <a:spcPct val="93000"/>
              </a:lnSpc>
              <a:spcBef>
                <a:spcPts val="0"/>
              </a:spcBef>
              <a:defRPr sz="1700" b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dirty="0"/>
              <a:t>Type of document</a:t>
            </a:r>
          </a:p>
        </p:txBody>
      </p:sp>
      <p:sp>
        <p:nvSpPr>
          <p:cNvPr id="6" name="Project name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6462" y="3130082"/>
            <a:ext cx="7948800" cy="1351780"/>
          </a:xfrm>
        </p:spPr>
        <p:txBody>
          <a:bodyPr anchor="b" anchorCtr="0">
            <a:spAutoFit/>
          </a:bodyPr>
          <a:lstStyle>
            <a:lvl1pPr algn="l">
              <a:lnSpc>
                <a:spcPct val="93000"/>
              </a:lnSpc>
              <a:spcBef>
                <a:spcPts val="0"/>
              </a:spcBef>
              <a:defRPr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Project name or document title</a:t>
            </a:r>
            <a:br>
              <a:rPr lang="en-US" dirty="0"/>
            </a:br>
            <a:r>
              <a:rPr lang="en-US" dirty="0"/>
              <a:t>(max. two lines, 21 pt.)</a:t>
            </a:r>
          </a:p>
        </p:txBody>
      </p:sp>
      <p:pic>
        <p:nvPicPr>
          <p:cNvPr id="88066" name="Object 1" hidden="1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" y="1589"/>
            <a:ext cx="1953" cy="1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3822099"/>
      </p:ext>
    </p:extLst>
  </p:cSld>
  <p:clrMapOvr>
    <a:masterClrMapping/>
  </p:clrMapOvr>
  <p:transition>
    <p:split orient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F195C8A-C2A7-4BC9-A4BE-15044C619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77523288-6D5D-41AF-B6E6-4272219C70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52A9D017-1D56-4CBB-A588-F150F1812A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979BF6-7E65-45FB-9500-D801BD598CC0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24CB6ABC-F13D-48B7-96B6-19A74258D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5FF02F98-74FA-4F1B-B3B4-927A54E50C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5146995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21B2A701-0C9E-405B-87B9-EB68D3C8DA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CF390190-190D-4364-9D84-F4A7A9C860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47F45BE1-FEC4-40F3-93D5-8EB8FF0A0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8E99AC-C0D7-4DA7-962A-86F7105C9B7D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878DF917-A9F8-4946-BE40-F003E2792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854F7F91-3B3D-478D-816B-C29F49ED24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1017960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0A423402-D234-45DF-A5AD-5E70BB946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0A43B7AA-127B-44DB-84EF-FC17CB42D5B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8301548D-55D5-4BF6-B7B0-F8C340356F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97D2DA10-60C2-4AF5-8B1A-B3D20926F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7EC9E9-F735-45E5-B05F-A0AF98D1471A}" type="datetime1">
              <a:rPr lang="fr-MA" smtClean="0"/>
              <a:t>29/11/2021</a:t>
            </a:fld>
            <a:endParaRPr lang="fr-M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F7816825-679D-4537-9E18-8D97BD53D3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A53ACAE8-D427-49AC-8A4B-7BD5BE8FF3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888476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B47AE4F-14BA-4402-B45F-B37F090BFE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910ECC7D-AB9D-440A-8F97-F49231A726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xmlns="" id="{25E85899-D0FF-46F7-B0B8-0E66CD776E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xmlns="" id="{C3D05D42-0740-4A91-9EA6-D86647C270C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xmlns="" id="{1E6DD9A3-7E8C-4AA9-A790-29247818FC9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xmlns="" id="{95A11277-EC21-4898-96A0-5F25C93420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4F88E-4194-4E54-A976-C0F240990D63}" type="datetime1">
              <a:rPr lang="fr-MA" smtClean="0"/>
              <a:t>29/11/2021</a:t>
            </a:fld>
            <a:endParaRPr lang="fr-MA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xmlns="" id="{50DD06CE-EACD-4A20-A238-D12D9A0AA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xmlns="" id="{1C4D53C3-C598-4789-A261-0DBB515D2F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1233461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8883F61E-EE44-46E1-A2A3-99781C5E84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xmlns="" id="{BD5491B0-44B4-429D-AE04-476A1C6614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ECA37-0EFB-4F4E-8932-E37DDACB8C57}" type="datetime1">
              <a:rPr lang="fr-MA" smtClean="0"/>
              <a:t>29/11/2021</a:t>
            </a:fld>
            <a:endParaRPr lang="fr-MA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xmlns="" id="{568E44CA-88C5-4629-83E3-9B461CF30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xmlns="" id="{1906D650-9405-4E5D-8285-D0A5FE1F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5473525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xmlns="" id="{F00BEBF5-A2D2-4A49-B3AE-85C95CFC6A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4EDD5D-145D-4805-81BF-F7456BB8877D}" type="datetime1">
              <a:rPr lang="fr-MA" smtClean="0"/>
              <a:t>29/11/2021</a:t>
            </a:fld>
            <a:endParaRPr lang="fr-MA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xmlns="" id="{BAE98E04-57D9-4981-B794-8ED1705533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xmlns="" id="{F13EA9C5-AB76-43C7-AE1A-1AE0D3EB6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4034153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89CCE2AF-B156-4E0A-ACD2-923D1D83EB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xmlns="" id="{15C73515-4043-42B6-82C2-3D3ED7A567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9F9D6DC9-12BD-40AB-8579-FF3031848E7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015D631C-1B75-4C56-B4FC-D12092249F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B21C9D-237B-4A88-AA94-F68C32268855}" type="datetime1">
              <a:rPr lang="fr-MA" smtClean="0"/>
              <a:t>29/11/2021</a:t>
            </a:fld>
            <a:endParaRPr lang="fr-M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D67DF205-A238-45FB-A4F1-16A13519C1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E5867896-83E4-402C-A7AA-526941BEF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2383372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xmlns="" id="{68387D01-7E13-4E91-AD4B-A1A778F68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xmlns="" id="{7A42C76D-91A8-4904-8199-CA5F68E37F2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MA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xmlns="" id="{A45F72DA-3A34-434F-BD9F-A36F4CC347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xmlns="" id="{F0F08C31-BC77-4FB6-B6FD-C786104D2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B17369-724B-4CDB-AF75-D70FCBE47673}" type="datetime1">
              <a:rPr lang="fr-MA" smtClean="0"/>
              <a:t>29/11/2021</a:t>
            </a:fld>
            <a:endParaRPr lang="fr-MA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xmlns="" id="{CADF483E-4E22-414B-8C8A-F8B7C9584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MA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4331D0AB-92B8-4C5C-8D18-1568702A5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40909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xmlns="" id="{D9033B99-0FC6-4104-8889-C96D0AD36F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fr-MA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xmlns="" id="{D3A4A108-4E95-45CA-A73A-B67F567B8D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MA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xmlns="" id="{72F5E6E8-6C60-4920-B9F7-E3DDD55D03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CEEFF0B-26CE-481A-A215-F39311DAF9B4}" type="datetime1">
              <a:rPr lang="fr-MA" smtClean="0"/>
              <a:t>29/11/2021</a:t>
            </a:fld>
            <a:endParaRPr lang="fr-MA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xmlns="" id="{6C88D48F-081A-43B7-81BF-0371F8327F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MA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DADFA94E-C43D-4948-8127-B82673A49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73951B8-3449-4836-B839-9A517932A8FF}" type="slidenum">
              <a:rPr lang="fr-MA" smtClean="0"/>
              <a:t>‹#›</a:t>
            </a:fld>
            <a:endParaRPr lang="fr-MA"/>
          </a:p>
        </p:txBody>
      </p:sp>
    </p:spTree>
    <p:extLst>
      <p:ext uri="{BB962C8B-B14F-4D97-AF65-F5344CB8AC3E}">
        <p14:creationId xmlns:p14="http://schemas.microsoft.com/office/powerpoint/2010/main" val="147953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2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2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2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2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2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7" Type="http://schemas.openxmlformats.org/officeDocument/2006/relationships/image" Target="../media/image2.png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2.xml"/><Relationship Id="rId7" Type="http://schemas.openxmlformats.org/officeDocument/2006/relationships/image" Target="../media/image2.png"/><Relationship Id="rId2" Type="http://schemas.openxmlformats.org/officeDocument/2006/relationships/diagramData" Target="../diagrams/data1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2.xml"/><Relationship Id="rId5" Type="http://schemas.openxmlformats.org/officeDocument/2006/relationships/diagramColors" Target="../diagrams/colors12.xml"/><Relationship Id="rId4" Type="http://schemas.openxmlformats.org/officeDocument/2006/relationships/diagramQuickStyle" Target="../diagrams/quickStyle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7" Type="http://schemas.openxmlformats.org/officeDocument/2006/relationships/image" Target="../media/image2.png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Relationship Id="rId9" Type="http://schemas.openxmlformats.org/officeDocument/2006/relationships/image" Target="../media/image3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f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0242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8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756800" y="5748549"/>
            <a:ext cx="4076874" cy="675570"/>
          </a:xfrm>
          <a:solidFill>
            <a:schemeClr val="bg2"/>
          </a:solidFill>
          <a:ln w="19050">
            <a:solidFill>
              <a:schemeClr val="bg1"/>
            </a:solidFill>
          </a:ln>
        </p:spPr>
        <p:txBody>
          <a:bodyPr anchor="ctr"/>
          <a:lstStyle/>
          <a:p>
            <a:pPr algn="ctr" rtl="1">
              <a:defRPr/>
            </a:pPr>
            <a:r>
              <a:rPr lang="fr-FR" sz="4000" dirty="0">
                <a:ln w="13462">
                  <a:solidFill>
                    <a:schemeClr val="bg1"/>
                  </a:solidFill>
                  <a:prstDash val="solid"/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dist="38100" dir="2700000" algn="bl" rotWithShape="0">
                    <a:schemeClr val="accent5"/>
                  </a:outerShdw>
                </a:effectLst>
                <a:latin typeface="Sakkal Majalla" panose="02000000000000000000" pitchFamily="2" charset="-78"/>
                <a:cs typeface="Samir_Khouaja_Maghribi" panose="02010000000000000000" pitchFamily="2" charset="-78"/>
              </a:rPr>
              <a:t>25  </a:t>
            </a:r>
            <a:r>
              <a:rPr lang="fr-FR" sz="4000" dirty="0" err="1">
                <a:ln w="13462">
                  <a:solidFill>
                    <a:schemeClr val="bg1"/>
                  </a:solidFill>
                  <a:prstDash val="solid"/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dist="38100" dir="2700000" algn="bl" rotWithShape="0">
                    <a:schemeClr val="accent5"/>
                  </a:outerShdw>
                </a:effectLst>
                <a:latin typeface="Sakkal Majalla" panose="02000000000000000000" pitchFamily="2" charset="-78"/>
                <a:cs typeface="Samir_Khouaja_Maghribi" panose="02010000000000000000" pitchFamily="2" charset="-78"/>
              </a:rPr>
              <a:t>November</a:t>
            </a:r>
            <a:r>
              <a:rPr lang="fr-FR" sz="4000" dirty="0">
                <a:ln w="13462">
                  <a:solidFill>
                    <a:schemeClr val="bg1"/>
                  </a:solidFill>
                  <a:prstDash val="solid"/>
                </a:ln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dist="38100" dir="2700000" algn="bl" rotWithShape="0">
                    <a:schemeClr val="accent5"/>
                  </a:outerShdw>
                </a:effectLst>
                <a:latin typeface="Sakkal Majalla" panose="02000000000000000000" pitchFamily="2" charset="-78"/>
                <a:cs typeface="Samir_Khouaja_Maghribi" panose="02010000000000000000" pitchFamily="2" charset="-78"/>
              </a:rPr>
              <a:t> 2021</a:t>
            </a:r>
          </a:p>
        </p:txBody>
      </p:sp>
      <p:pic>
        <p:nvPicPr>
          <p:cNvPr id="10" name="Picture 2" descr="http://www.mmsp.gov.ma/ar/images/logo/tag.pn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5128219" y="113392"/>
            <a:ext cx="1121179" cy="884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re 1">
            <a:extLst>
              <a:ext uri="{FF2B5EF4-FFF2-40B4-BE49-F238E27FC236}">
                <a16:creationId xmlns:a16="http://schemas.microsoft.com/office/drawing/2014/main" xmlns="" id="{32151AC6-F3F4-412D-A364-BF49E7206AE3}"/>
              </a:ext>
            </a:extLst>
          </p:cNvPr>
          <p:cNvSpPr txBox="1">
            <a:spLocks/>
          </p:cNvSpPr>
          <p:nvPr/>
        </p:nvSpPr>
        <p:spPr bwMode="auto">
          <a:xfrm>
            <a:off x="1085946" y="2781504"/>
            <a:ext cx="9849147" cy="1403997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457211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6pPr>
            <a:lvl7pPr marL="914423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7pPr>
            <a:lvl8pPr marL="1371634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8pPr>
            <a:lvl9pPr marL="1828846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rtl="1"/>
            <a:r>
              <a:rPr lang="fr-FR" sz="2800" dirty="0">
                <a:ln w="13462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dist="38100" dir="2700000" algn="bl" rotWithShape="0">
                    <a:schemeClr val="accent5"/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Readiness of HR Professionals to upskill Africa’s human resources to productively live , learn , work and participate in the digital world</a:t>
            </a:r>
            <a:endParaRPr lang="fr-MA" sz="2800" dirty="0">
              <a:ln w="13462">
                <a:solidFill>
                  <a:schemeClr val="bg1"/>
                </a:solidFill>
                <a:prstDash val="solid"/>
              </a:ln>
              <a:solidFill>
                <a:schemeClr val="bg1"/>
              </a:solidFill>
              <a:effectLst>
                <a:glow rad="63500">
                  <a:schemeClr val="accent3">
                    <a:satMod val="175000"/>
                    <a:alpha val="40000"/>
                  </a:schemeClr>
                </a:glow>
                <a:outerShdw dist="38100" dir="2700000" algn="bl" rotWithShape="0">
                  <a:schemeClr val="accent5"/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xmlns="" id="{63B224F8-579B-47B0-B229-2C38BC724C77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-210485" y="1453672"/>
            <a:ext cx="2814334" cy="40075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pPr lvl="0" algn="ctr" rtl="1">
              <a:lnSpc>
                <a:spcPct val="93000"/>
              </a:lnSpc>
              <a:defRPr/>
            </a:pPr>
            <a:r>
              <a:rPr lang="fr-FR" sz="1400" b="0" dirty="0">
                <a:cs typeface="Khalid Art bold" pitchFamily="2" charset="-78"/>
              </a:rPr>
              <a:t/>
            </a:r>
            <a:br>
              <a:rPr lang="fr-FR" sz="1400" b="0" dirty="0">
                <a:cs typeface="Khalid Art bold" pitchFamily="2" charset="-78"/>
              </a:rPr>
            </a:br>
            <a:endParaRPr lang="fr-FR" sz="1400" b="0" dirty="0">
              <a:cs typeface="Khalid Art bold" pitchFamily="2" charset="-78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xmlns="" id="{EDD899BE-0661-4B6B-8433-957A374969DC}"/>
              </a:ext>
            </a:extLst>
          </p:cNvPr>
          <p:cNvSpPr txBox="1"/>
          <p:nvPr/>
        </p:nvSpPr>
        <p:spPr>
          <a:xfrm>
            <a:off x="4560976" y="1040490"/>
            <a:ext cx="2397504" cy="73866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fr-FR" sz="1050" b="1" dirty="0">
                <a:solidFill>
                  <a:srgbClr val="0070C0"/>
                </a:solidFill>
              </a:rPr>
              <a:t>Kingdom of Morocco</a:t>
            </a:r>
          </a:p>
          <a:p>
            <a:pPr algn="ctr"/>
            <a:r>
              <a:rPr lang="fr-FR" sz="1050" b="1" dirty="0">
                <a:solidFill>
                  <a:srgbClr val="0070C0"/>
                </a:solidFill>
              </a:rPr>
              <a:t> Head of Gouvernement</a:t>
            </a:r>
          </a:p>
          <a:p>
            <a:pPr algn="ctr"/>
            <a:r>
              <a:rPr lang="fr-FR" sz="1050" b="1" dirty="0">
                <a:solidFill>
                  <a:srgbClr val="0070C0"/>
                </a:solidFill>
              </a:rPr>
              <a:t> Ministry of  digital  Transition</a:t>
            </a:r>
          </a:p>
          <a:p>
            <a:pPr algn="ctr"/>
            <a:r>
              <a:rPr lang="fr-FR" sz="1050" b="1" dirty="0">
                <a:solidFill>
                  <a:srgbClr val="0070C0"/>
                </a:solidFill>
              </a:rPr>
              <a:t> and Administration Reform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xmlns="" id="{8D3A5A38-003A-46EB-9712-B80C36323AA6}"/>
              </a:ext>
            </a:extLst>
          </p:cNvPr>
          <p:cNvSpPr txBox="1"/>
          <p:nvPr/>
        </p:nvSpPr>
        <p:spPr>
          <a:xfrm>
            <a:off x="4560976" y="4759232"/>
            <a:ext cx="257801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sz="4000" dirty="0">
                <a:ln w="13462">
                  <a:solidFill>
                    <a:schemeClr val="bg1"/>
                  </a:solidFill>
                  <a:prstDash val="solid"/>
                </a:ln>
                <a:solidFill>
                  <a:srgbClr val="002060"/>
                </a:solidFill>
                <a:effectLst>
                  <a:glow rad="63500">
                    <a:schemeClr val="accent3">
                      <a:satMod val="175000"/>
                      <a:alpha val="40000"/>
                    </a:schemeClr>
                  </a:glow>
                  <a:outerShdw dist="38100" dir="2700000" algn="bl" rotWithShape="0">
                    <a:schemeClr val="accent5"/>
                  </a:outerShdw>
                </a:effectLst>
                <a:latin typeface="Sakkal Majalla" panose="02000000000000000000" pitchFamily="2" charset="-78"/>
                <a:ea typeface="+mj-ea"/>
                <a:cs typeface="Samir_Khouaja_Maghribi" panose="02010000000000000000" pitchFamily="2" charset="-78"/>
              </a:rPr>
              <a:t>Jawad SADIQ</a:t>
            </a:r>
          </a:p>
        </p:txBody>
      </p:sp>
    </p:spTree>
    <p:extLst>
      <p:ext uri="{BB962C8B-B14F-4D97-AF65-F5344CB8AC3E}">
        <p14:creationId xmlns:p14="http://schemas.microsoft.com/office/powerpoint/2010/main" val="2045928527"/>
      </p:ext>
    </p:extLst>
  </p:cSld>
  <p:clrMapOvr>
    <a:masterClrMapping/>
  </p:clrMapOvr>
  <p:transition spd="slow">
    <p:push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1021404" y="0"/>
            <a:ext cx="1117059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</a:rPr>
              <a:t>Strengthening the public administrations’ atractivity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6F872A0-C055-46A6-810D-D0340BA81D3D}"/>
              </a:ext>
            </a:extLst>
          </p:cNvPr>
          <p:cNvSpPr/>
          <p:nvPr/>
        </p:nvSpPr>
        <p:spPr>
          <a:xfrm>
            <a:off x="94267" y="659876"/>
            <a:ext cx="5165889" cy="5948314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chemeClr val="bg1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olicy development for an inclusive workplace, </a:t>
            </a:r>
          </a:p>
          <a:p>
            <a:pPr lvl="0"/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Standardize working conditions </a:t>
            </a:r>
          </a:p>
          <a:p>
            <a:pPr lvl="0"/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Ensuring dignity, confidentiality, autonomy, integration and equal opportunities for civil servants ...</a:t>
            </a:r>
          </a:p>
          <a:p>
            <a:pPr lvl="0"/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prepare guides for managers to help them translate the administration's commitment guidelines into practice </a:t>
            </a:r>
            <a:r>
              <a:rPr lang="fr-FR" sz="2000" spc="-30" dirty="0">
                <a:solidFill>
                  <a:srgbClr val="002060"/>
                </a:solidFill>
                <a:latin typeface="Poppins" panose="00000500000000000000" pitchFamily="2" charset="0"/>
              </a:rPr>
              <a:t> </a:t>
            </a:r>
            <a:endParaRPr lang="fr-FR" sz="1800" dirty="0">
              <a:solidFill>
                <a:srgbClr val="002060"/>
              </a:solidFill>
              <a:effectLst/>
              <a:latin typeface="Roboto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chemeClr val="bg1"/>
              </a:solidFill>
              <a:latin typeface="Poppins" panose="00000500000000000000" pitchFamily="2" charset="0"/>
            </a:endParaRPr>
          </a:p>
        </p:txBody>
      </p:sp>
      <p:sp>
        <p:nvSpPr>
          <p:cNvPr id="5" name="Triangle isocèle 4">
            <a:extLst>
              <a:ext uri="{FF2B5EF4-FFF2-40B4-BE49-F238E27FC236}">
                <a16:creationId xmlns:a16="http://schemas.microsoft.com/office/drawing/2014/main" xmlns="" id="{FEE5C925-C840-4545-9300-4A404115F09A}"/>
              </a:ext>
            </a:extLst>
          </p:cNvPr>
          <p:cNvSpPr/>
          <p:nvPr/>
        </p:nvSpPr>
        <p:spPr>
          <a:xfrm rot="5400000">
            <a:off x="2527170" y="3194901"/>
            <a:ext cx="5948312" cy="87826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riangle isocèle 8">
            <a:extLst>
              <a:ext uri="{FF2B5EF4-FFF2-40B4-BE49-F238E27FC236}">
                <a16:creationId xmlns:a16="http://schemas.microsoft.com/office/drawing/2014/main" xmlns="" id="{71BBA81B-E3BF-4978-AF89-F5D38ECA26EC}"/>
              </a:ext>
            </a:extLst>
          </p:cNvPr>
          <p:cNvSpPr/>
          <p:nvPr/>
        </p:nvSpPr>
        <p:spPr>
          <a:xfrm rot="5400000">
            <a:off x="4044122" y="3288405"/>
            <a:ext cx="3112371" cy="680304"/>
          </a:xfrm>
          <a:prstGeom prst="triangl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33FA9928-615B-4242-893B-3E4A8FAAE97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0FDF122A-97DF-4D53-9C3A-93C62B24CCBA}"/>
              </a:ext>
            </a:extLst>
          </p:cNvPr>
          <p:cNvSpPr/>
          <p:nvPr/>
        </p:nvSpPr>
        <p:spPr>
          <a:xfrm>
            <a:off x="5956835" y="1602558"/>
            <a:ext cx="3568431" cy="4067852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3600" b="1" dirty="0">
                <a:solidFill>
                  <a:srgbClr val="002060"/>
                </a:solidFill>
              </a:rPr>
              <a:t>inclusion</a:t>
            </a:r>
          </a:p>
          <a:p>
            <a:pPr algn="ctr"/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xmlns="" id="{60FC27FF-9092-4D17-B245-66E7964B89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0180" y="2448767"/>
            <a:ext cx="2963381" cy="3221642"/>
          </a:xfrm>
          <a:prstGeom prst="rect">
            <a:avLst/>
          </a:prstGeom>
        </p:spPr>
      </p:pic>
      <p:sp>
        <p:nvSpPr>
          <p:cNvPr id="14" name="Espace réservé du numéro de diapositive 6">
            <a:extLst>
              <a:ext uri="{FF2B5EF4-FFF2-40B4-BE49-F238E27FC236}">
                <a16:creationId xmlns:a16="http://schemas.microsoft.com/office/drawing/2014/main" xmlns="" id="{D421F2C3-A6B3-4E40-B8EC-007CD9742D85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0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379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9178511"/>
              </p:ext>
            </p:extLst>
          </p:nvPr>
        </p:nvGraphicFramePr>
        <p:xfrm>
          <a:off x="0" y="532902"/>
          <a:ext cx="12192000" cy="63250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99242" y="0"/>
            <a:ext cx="11192758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/>
            <a:r>
              <a:rPr lang="fr-FR" sz="2800" b="1" dirty="0">
                <a:solidFill>
                  <a:schemeClr val="bg1"/>
                </a:solidFill>
              </a:rPr>
              <a:t>Training policies</a:t>
            </a:r>
            <a:endParaRPr lang="fr-MA" sz="3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885211" y="2072369"/>
            <a:ext cx="9502220" cy="3216067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rtl="0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endParaRPr lang="en-US" sz="200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lvl="0" rtl="0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endParaRPr lang="en-US" sz="200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lvl="0" rtl="0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r>
              <a:rPr lang="en-US" sz="200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The adapting of training policy is meant to support the implementation of ongoing reform projects through training and development of skills required by new jobs and working methods</a:t>
            </a:r>
          </a:p>
          <a:p>
            <a:pPr lvl="0" rtl="0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endParaRPr lang="en-US" sz="200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3971307" y="1279348"/>
            <a:ext cx="3159392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1800" b="1" dirty="0">
                <a:solidFill>
                  <a:schemeClr val="bg1"/>
                </a:solidFill>
              </a:rPr>
              <a:t>Adapting the training policies</a:t>
            </a:r>
            <a:endParaRPr lang="fr-MA" sz="24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FC55EE70-A734-4D6B-B093-F130918E899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1A8B65A2-3DC6-4BE4-BD8A-25E8A740664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1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2608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283126" cy="561337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885210" y="0"/>
            <a:ext cx="11306789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/>
            <a:r>
              <a:rPr lang="fr-FR" sz="2800" b="1" dirty="0">
                <a:solidFill>
                  <a:schemeClr val="bg1"/>
                </a:solidFill>
              </a:rPr>
              <a:t>Training policies</a:t>
            </a:r>
            <a:endParaRPr lang="fr-MA" sz="3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848411" y="2095106"/>
            <a:ext cx="9690755" cy="397575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575"/>
              </a:lnSpc>
              <a:spcAft>
                <a:spcPts val="800"/>
              </a:spcAft>
            </a:pPr>
            <a:endParaRPr lang="fr-FR" b="1" i="1" dirty="0">
              <a:solidFill>
                <a:schemeClr val="bg1"/>
              </a:solidFill>
              <a:latin typeface="Helvetica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42900" lvl="0" indent="-3429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Digitization</a:t>
            </a:r>
            <a:endParaRPr lang="fr-FR" sz="18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342900" lvl="0" indent="-3429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Teleworking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or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hybrid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modalities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, </a:t>
            </a:r>
          </a:p>
          <a:p>
            <a:pPr marL="342900" lvl="0" indent="-3429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Agile HR management (HRIS solutions, document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dematerialization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(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electronic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safe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, in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articular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) HR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analytics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solutions </a:t>
            </a:r>
          </a:p>
          <a:p>
            <a:pPr marL="342900" lvl="0" indent="-3429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Support management </a:t>
            </a:r>
          </a:p>
          <a:p>
            <a:pPr marL="342900" lvl="0" indent="-342900" algn="just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Char char="§"/>
            </a:pP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Shift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from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iloting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based on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resenteeism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to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iloting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based on </a:t>
            </a:r>
            <a:r>
              <a:rPr lang="fr-FR" sz="1800" b="0" i="0" dirty="0" err="1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activity</a:t>
            </a:r>
            <a:r>
              <a:rPr lang="fr-FR" sz="18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and delivery.</a:t>
            </a:r>
            <a:endParaRPr lang="fr-MA" sz="1800" b="1" dirty="0">
              <a:solidFill>
                <a:srgbClr val="002060"/>
              </a:solidFill>
            </a:endParaRPr>
          </a:p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3971307" y="1350388"/>
            <a:ext cx="3159392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1800" b="1" dirty="0">
                <a:solidFill>
                  <a:schemeClr val="bg1"/>
                </a:solidFill>
              </a:rPr>
              <a:t>Adapting the training policy to cover new modes of management</a:t>
            </a:r>
            <a:endParaRPr lang="fr-MA" sz="24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5F37CE82-3729-4A71-A9C5-6CA439CDD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D0644FED-895B-4241-B98B-C26B8AF8D48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2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95068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1935413"/>
              </p:ext>
            </p:extLst>
          </p:nvPr>
        </p:nvGraphicFramePr>
        <p:xfrm>
          <a:off x="0" y="532902"/>
          <a:ext cx="12191999" cy="56039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885210" y="0"/>
            <a:ext cx="11306789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/>
            <a:r>
              <a:rPr lang="fr-FR" sz="2800" b="1" dirty="0">
                <a:solidFill>
                  <a:schemeClr val="bg1"/>
                </a:solidFill>
              </a:rPr>
              <a:t>Training policies</a:t>
            </a:r>
            <a:endParaRPr lang="fr-MA" sz="3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848411" y="2095106"/>
            <a:ext cx="9690755" cy="397575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ts val="1575"/>
              </a:lnSpc>
              <a:spcAft>
                <a:spcPts val="800"/>
              </a:spcAft>
            </a:pPr>
            <a:endParaRPr lang="fr-FR" b="1" i="1" dirty="0">
              <a:solidFill>
                <a:schemeClr val="bg1"/>
              </a:solidFill>
              <a:latin typeface="Helvetica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lnSpc>
                <a:spcPts val="1575"/>
              </a:lnSpc>
              <a:spcAft>
                <a:spcPts val="800"/>
              </a:spcAft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example of new jobs relating to the field of digitization</a:t>
            </a:r>
          </a:p>
          <a:p>
            <a:pPr>
              <a:lnSpc>
                <a:spcPts val="1575"/>
              </a:lnSpc>
              <a:spcAft>
                <a:spcPts val="800"/>
              </a:spcAft>
            </a:pPr>
            <a:endParaRPr lang="en-US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cybersecurity consultants,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support and governance project managers, 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database architects and administrators 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information systems security managers.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community animators (community managers), 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chief data officers </a:t>
            </a:r>
          </a:p>
          <a:p>
            <a:pPr marL="285750" indent="-285750">
              <a:lnSpc>
                <a:spcPts val="1575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chief digital officers.</a:t>
            </a: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fr-FR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3971307" y="1225486"/>
            <a:ext cx="3159392" cy="79420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1800" b="1" dirty="0">
                <a:solidFill>
                  <a:schemeClr val="bg1"/>
                </a:solidFill>
              </a:rPr>
              <a:t>Adapting the training policy to cover the new jobs</a:t>
            </a:r>
            <a:endParaRPr lang="fr-MA" sz="24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5F37CE82-3729-4A71-A9C5-6CA439CDDF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D0644FED-895B-4241-B98B-C26B8AF8D48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3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91749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1650832"/>
              </p:ext>
            </p:extLst>
          </p:nvPr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1084081" y="1606444"/>
            <a:ext cx="10490069" cy="47775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20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013 Morocco Digital </a:t>
            </a:r>
            <a:r>
              <a:rPr lang="fr-FR" sz="20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egy</a:t>
            </a:r>
            <a:r>
              <a:rPr lang="fr-FR" sz="20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volved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round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riou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reas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ch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s social transformation, user-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riented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ublic utilities (e-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vernment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mproving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ductivity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E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/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ME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nd the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mergence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the information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ology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dustry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b="1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“Digital Morocco 2020” </a:t>
            </a:r>
            <a:r>
              <a:rPr lang="fr-FR" sz="20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ategy</a:t>
            </a:r>
            <a:r>
              <a:rPr lang="fr-FR" sz="20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the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year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16,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ch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ll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ontinue to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rengthen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rocco’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osition as a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gional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enter for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chnology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by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chieving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volution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m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“social transformation” and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eeping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ace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trepreneurship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riou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-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overnment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ject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4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4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469631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716436" y="1431124"/>
            <a:ext cx="10914271" cy="49930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fr-FR" sz="18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gislative</a:t>
            </a: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s</a:t>
            </a: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taining</a:t>
            </a: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he digital transformation of administrative services: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b="1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fr-FR" b="1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5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5</a:t>
            </a:fld>
            <a:endParaRPr lang="fr-MA" sz="1400" b="1" dirty="0">
              <a:solidFill>
                <a:schemeClr val="bg1"/>
              </a:solidFill>
            </a:endParaRPr>
          </a:p>
        </p:txBody>
      </p:sp>
      <p:sp>
        <p:nvSpPr>
          <p:cNvPr id="10" name="Triangle isocèle 9">
            <a:extLst>
              <a:ext uri="{FF2B5EF4-FFF2-40B4-BE49-F238E27FC236}">
                <a16:creationId xmlns:a16="http://schemas.microsoft.com/office/drawing/2014/main" xmlns="" id="{99049826-D019-4CE3-8F50-872BBABC78DE}"/>
              </a:ext>
            </a:extLst>
          </p:cNvPr>
          <p:cNvSpPr/>
          <p:nvPr/>
        </p:nvSpPr>
        <p:spPr>
          <a:xfrm rot="5400000">
            <a:off x="5823084" y="2224678"/>
            <a:ext cx="474788" cy="756480"/>
          </a:xfrm>
          <a:prstGeom prst="triangle">
            <a:avLst>
              <a:gd name="adj" fmla="val 38493"/>
            </a:avLst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9903382B-9C65-49CD-B2E5-A4190CCE5E91}"/>
              </a:ext>
            </a:extLst>
          </p:cNvPr>
          <p:cNvSpPr/>
          <p:nvPr/>
        </p:nvSpPr>
        <p:spPr>
          <a:xfrm>
            <a:off x="6863926" y="2106923"/>
            <a:ext cx="4278556" cy="9144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ixed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inciples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implifying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gitizing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dministrative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cedures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7FD1C8B-A11C-4EDA-8507-BF132BC6467F}"/>
              </a:ext>
            </a:extLst>
          </p:cNvPr>
          <p:cNvSpPr/>
          <p:nvPr/>
        </p:nvSpPr>
        <p:spPr>
          <a:xfrm>
            <a:off x="1456396" y="3396150"/>
            <a:ext cx="3610466" cy="9144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Bill 55.19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lating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the simplification of administrative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edures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BBF0A8F3-0427-4188-9433-B168B11BB57C}"/>
              </a:ext>
            </a:extLst>
          </p:cNvPr>
          <p:cNvSpPr/>
          <p:nvPr/>
        </p:nvSpPr>
        <p:spPr>
          <a:xfrm>
            <a:off x="1456396" y="2145718"/>
            <a:ext cx="3610466" cy="9144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</a:pP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fr-FR" sz="18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ssuing</a:t>
            </a: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of  the Public Service Charter Law</a:t>
            </a: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36329BA-EAA0-4146-B02E-7D694CD6BD16}"/>
              </a:ext>
            </a:extLst>
          </p:cNvPr>
          <p:cNvSpPr/>
          <p:nvPr/>
        </p:nvSpPr>
        <p:spPr>
          <a:xfrm>
            <a:off x="6863926" y="3313663"/>
            <a:ext cx="4278555" cy="107922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ixed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2025 as a 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eadline for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mpleting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gitaliz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raft digital management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w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tion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process of all administrative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cedures</a:t>
            </a:r>
            <a:r>
              <a:rPr lang="fr-FR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and </a:t>
            </a:r>
            <a:r>
              <a:rPr lang="fr-FR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rmalities</a:t>
            </a:r>
            <a:endParaRPr lang="fr-FR" dirty="0"/>
          </a:p>
        </p:txBody>
      </p:sp>
      <p:sp>
        <p:nvSpPr>
          <p:cNvPr id="15" name="Triangle isocèle 14">
            <a:extLst>
              <a:ext uri="{FF2B5EF4-FFF2-40B4-BE49-F238E27FC236}">
                <a16:creationId xmlns:a16="http://schemas.microsoft.com/office/drawing/2014/main" xmlns="" id="{C04439A9-1294-401E-ABA5-2CE6AF798A06}"/>
              </a:ext>
            </a:extLst>
          </p:cNvPr>
          <p:cNvSpPr/>
          <p:nvPr/>
        </p:nvSpPr>
        <p:spPr>
          <a:xfrm rot="5400000">
            <a:off x="5799319" y="3554604"/>
            <a:ext cx="474788" cy="756480"/>
          </a:xfrm>
          <a:prstGeom prst="triangle">
            <a:avLst>
              <a:gd name="adj" fmla="val 38493"/>
            </a:avLst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3A8B5ED-B194-47D8-BB02-60BD80DE2DBB}"/>
              </a:ext>
            </a:extLst>
          </p:cNvPr>
          <p:cNvSpPr/>
          <p:nvPr/>
        </p:nvSpPr>
        <p:spPr>
          <a:xfrm>
            <a:off x="1456396" y="4646582"/>
            <a:ext cx="3610466" cy="9144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18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raft digital management </a:t>
            </a:r>
            <a:r>
              <a:rPr lang="fr-FR" sz="1800" b="1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aw</a:t>
            </a:r>
            <a:endParaRPr lang="fr-FR" b="1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1621320C-0A58-4047-A088-359D95BDE547}"/>
              </a:ext>
            </a:extLst>
          </p:cNvPr>
          <p:cNvSpPr/>
          <p:nvPr/>
        </p:nvSpPr>
        <p:spPr>
          <a:xfrm>
            <a:off x="6884050" y="4564168"/>
            <a:ext cx="4278555" cy="1079228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gal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s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signed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to deal in a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aper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vironment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o not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inder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aling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1800" dirty="0" err="1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</a:t>
            </a:r>
            <a:r>
              <a:rPr lang="fr-FR" sz="18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igital services</a:t>
            </a:r>
            <a:r>
              <a:rPr lang="fr-FR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fr-FR" dirty="0"/>
          </a:p>
        </p:txBody>
      </p:sp>
      <p:sp>
        <p:nvSpPr>
          <p:cNvPr id="18" name="Triangle isocèle 17">
            <a:extLst>
              <a:ext uri="{FF2B5EF4-FFF2-40B4-BE49-F238E27FC236}">
                <a16:creationId xmlns:a16="http://schemas.microsoft.com/office/drawing/2014/main" xmlns="" id="{FA4BED87-A364-40C2-B8AB-FC66E89324EA}"/>
              </a:ext>
            </a:extLst>
          </p:cNvPr>
          <p:cNvSpPr/>
          <p:nvPr/>
        </p:nvSpPr>
        <p:spPr>
          <a:xfrm rot="5400000">
            <a:off x="5738062" y="4809055"/>
            <a:ext cx="474788" cy="756480"/>
          </a:xfrm>
          <a:prstGeom prst="triangle">
            <a:avLst>
              <a:gd name="adj" fmla="val 38493"/>
            </a:avLst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133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537327" y="1748652"/>
            <a:ext cx="11654672" cy="47775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b="1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fr-FR" sz="2000" b="1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eation</a:t>
            </a:r>
            <a:r>
              <a:rPr lang="fr-FR" sz="2000" b="1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the Digital Development Agency in 2017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  <a:tabLst>
                <a:tab pos="457200" algn="l"/>
              </a:tabLst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mplementing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ate’s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trategy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in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erms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digital development,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omoting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ssemination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digital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ols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,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ontribution to the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gitization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management,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bridging the digital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divide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,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upporting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ustry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4.0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volution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(the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Fourth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ustrial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volution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),</a:t>
            </a:r>
          </a:p>
          <a:p>
            <a:pPr marL="1200150" lvl="2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ading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he management of change in society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rough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training and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wareness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2000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aising</a:t>
            </a:r>
            <a:r>
              <a:rPr lang="fr-FR" sz="20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6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6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881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1150069" y="1538650"/>
            <a:ext cx="10490069" cy="47775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b="1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2018 –the launching  of 5 </a:t>
            </a:r>
            <a:r>
              <a:rPr lang="en-US" sz="2000" b="1" dirty="0">
                <a:solidFill>
                  <a:srgbClr val="002060"/>
                </a:solidFill>
                <a:latin typeface="Roboto" panose="02000000000000000000" pitchFamily="2" charset="0"/>
              </a:rPr>
              <a:t>years training program </a:t>
            </a: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to strengthen the skills of civil servants at central and local level in terms of digitization "E-TAMKEEN“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It aligns with Morocco's strategy for the digital transformation of Public Administration </a:t>
            </a:r>
            <a:endParaRPr lang="fr-FR" sz="1600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7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7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0640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1131215" y="1538650"/>
            <a:ext cx="10490069" cy="47775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FR" sz="2000" b="1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pril 2021 - The adoption of a new development model</a:t>
            </a:r>
          </a:p>
          <a:p>
            <a:pPr algn="just"/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fr-FR" sz="2000" b="1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the challenges that  must be met to ensure that the full potential of digital technologies is mobilized in the country’s development projects:</a:t>
            </a:r>
          </a:p>
          <a:p>
            <a:pPr algn="just"/>
            <a:endParaRPr lang="en-US" sz="2000" dirty="0">
              <a:solidFill>
                <a:schemeClr val="tx1"/>
              </a:solidFill>
            </a:endParaRPr>
          </a:p>
          <a:p>
            <a:pPr marL="800100" lvl="1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The adoption of  a digital transformation strategy, endorsed at the highest level.</a:t>
            </a:r>
          </a:p>
          <a:p>
            <a:pPr marL="800100" lvl="1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The training of a sufficient number of skilled people capable of driving and implementing this digital transformation on the ground.</a:t>
            </a:r>
            <a:endParaRPr lang="fr-FR" sz="2000" b="1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742950" lvl="1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8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8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325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/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digital readiness of Morocco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1159496" y="1547573"/>
            <a:ext cx="10490069" cy="477752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fr-FR" sz="2000" b="1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fr-FR" sz="2000" b="1" dirty="0" err="1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creation</a:t>
            </a:r>
            <a:r>
              <a:rPr lang="fr-FR" sz="2000" b="1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of the Ministry of digital Transition and Administration Reform 2021,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schemeClr val="tx1"/>
                </a:solidFill>
              </a:rPr>
              <a:t>Digital transition  is given special attention at the highest level of the State </a:t>
            </a:r>
          </a:p>
          <a:p>
            <a:pPr lvl="1" algn="just"/>
            <a:r>
              <a:rPr lang="en-US" sz="2000" dirty="0">
                <a:solidFill>
                  <a:schemeClr val="tx1"/>
                </a:solidFill>
              </a:rPr>
              <a:t>       as a driving force for structural and high-impact transformations.</a:t>
            </a:r>
            <a:r>
              <a:rPr lang="fr-FR" sz="2000" b="1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lvl="1" algn="just"/>
            <a:endParaRPr lang="fr-FR" sz="2000" b="1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buFont typeface="Wingdings" panose="05000000000000000000" pitchFamily="2" charset="2"/>
              <a:buChar char="§"/>
            </a:pPr>
            <a:r>
              <a:rPr lang="fr-FR" sz="200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ssumes the mission of the Digital Development Agency,</a:t>
            </a:r>
          </a:p>
          <a:p>
            <a:pPr marL="800100" lvl="1" indent="-342900" algn="just">
              <a:buFont typeface="Wingdings" panose="05000000000000000000" pitchFamily="2" charset="2"/>
              <a:buChar char="§"/>
            </a:pPr>
            <a:endParaRPr lang="fr-FR" sz="2000" b="1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lvl="0" indent="-285750" algn="just" rtl="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2BF1B10-B015-4518-80ED-3EEEF432544B}"/>
              </a:ext>
            </a:extLst>
          </p:cNvPr>
          <p:cNvSpPr/>
          <p:nvPr/>
        </p:nvSpPr>
        <p:spPr>
          <a:xfrm flipH="1">
            <a:off x="2918791" y="747527"/>
            <a:ext cx="5580668" cy="669303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fr-FR" sz="2400" b="1" dirty="0">
                <a:solidFill>
                  <a:schemeClr val="bg1"/>
                </a:solidFill>
              </a:rPr>
              <a:t>Initiatives </a:t>
            </a:r>
            <a:r>
              <a:rPr lang="fr-FR" sz="2400" b="1" dirty="0" err="1">
                <a:solidFill>
                  <a:schemeClr val="bg1"/>
                </a:solidFill>
              </a:rPr>
              <a:t>undertaken</a:t>
            </a:r>
            <a:endParaRPr lang="fr-MA" sz="3200" b="1" dirty="0">
              <a:solidFill>
                <a:schemeClr val="bg1"/>
              </a:solidFill>
            </a:endParaRPr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xmlns="" id="{1BE5184A-F84D-4C9B-A0FB-08F6AD9222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3951B8-3449-4836-B839-9A517932A8FF}" type="slidenum">
              <a:rPr lang="fr-MA" smtClean="0"/>
              <a:t>19</a:t>
            </a:fld>
            <a:endParaRPr lang="fr-MA"/>
          </a:p>
        </p:txBody>
      </p:sp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19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9345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B9AA6AD1-EE8F-435B-9B90-17B1215CBB53}"/>
              </a:ext>
            </a:extLst>
          </p:cNvPr>
          <p:cNvSpPr/>
          <p:nvPr/>
        </p:nvSpPr>
        <p:spPr>
          <a:xfrm>
            <a:off x="593889" y="1055801"/>
            <a:ext cx="11236750" cy="5081047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Wingdings" panose="05000000000000000000" pitchFamily="2" charset="2"/>
              <a:buChar char="q"/>
            </a:pPr>
            <a:endParaRPr lang="fr-FR" dirty="0">
              <a:solidFill>
                <a:srgbClr val="002060"/>
              </a:solidFill>
            </a:endParaRPr>
          </a:p>
          <a:p>
            <a:endParaRPr lang="fr-FR" sz="2400" dirty="0">
              <a:solidFill>
                <a:srgbClr val="002060"/>
              </a:solidFill>
            </a:endParaRPr>
          </a:p>
          <a:p>
            <a:endParaRPr lang="fr-FR" sz="2400" dirty="0">
              <a:solidFill>
                <a:srgbClr val="002060"/>
              </a:solidFill>
            </a:endParaRPr>
          </a:p>
          <a:p>
            <a:endParaRPr lang="fr-FR" sz="2400" dirty="0">
              <a:solidFill>
                <a:srgbClr val="002060"/>
              </a:solidFill>
            </a:endParaRP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context of digital skills developement</a:t>
            </a:r>
            <a:endParaRPr lang="fr-FR" sz="2400" dirty="0">
              <a:solidFill>
                <a:srgbClr val="002060"/>
              </a:solidFill>
            </a:endParaRP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Digital competencies management, 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 rôle of HR professionals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Strengthening the public administrations’ atractivity</a:t>
            </a:r>
          </a:p>
          <a:p>
            <a:pPr marL="1257300" lvl="2" indent="-342900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Training policies </a:t>
            </a:r>
          </a:p>
          <a:p>
            <a:pPr marL="1257300" lvl="2" indent="-34290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Role of managers </a:t>
            </a:r>
          </a:p>
          <a:p>
            <a:pPr marL="1257300" lvl="2" indent="-34290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sight into the  digital readiness of Morocco</a:t>
            </a:r>
            <a:endParaRPr lang="fr-MA" sz="2400" dirty="0">
              <a:solidFill>
                <a:srgbClr val="00206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lvl="1"/>
            <a:endParaRPr lang="fr-FR" sz="2400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dirty="0">
              <a:solidFill>
                <a:srgbClr val="002060"/>
              </a:solidFill>
            </a:endParaRPr>
          </a:p>
          <a:p>
            <a:pPr algn="just"/>
            <a:endParaRPr lang="fr-FR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dirty="0">
              <a:solidFill>
                <a:srgbClr val="002060"/>
              </a:solidFill>
            </a:endParaRP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02724BB-E133-497A-A522-1ADF6D2312F5}"/>
              </a:ext>
            </a:extLst>
          </p:cNvPr>
          <p:cNvSpPr/>
          <p:nvPr/>
        </p:nvSpPr>
        <p:spPr>
          <a:xfrm>
            <a:off x="885210" y="0"/>
            <a:ext cx="11306789" cy="520718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CONTENT OF THE PRESENTATION </a:t>
            </a:r>
          </a:p>
        </p:txBody>
      </p:sp>
      <p:pic>
        <p:nvPicPr>
          <p:cNvPr id="4" name="Picture 2" descr="http://www.mmsp.gov.ma/ar/images/logo/tag.png">
            <a:extLst>
              <a:ext uri="{FF2B5EF4-FFF2-40B4-BE49-F238E27FC236}">
                <a16:creationId xmlns:a16="http://schemas.microsoft.com/office/drawing/2014/main" xmlns="" id="{897D14F5-0B91-4761-80B7-50F0DE5E63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22978" y="0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xmlns="" id="{3CAE250E-4FC1-4350-BDA9-05AAC6BF9F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1602" y="6424144"/>
            <a:ext cx="644951" cy="393680"/>
          </a:xfrm>
          <a:solidFill>
            <a:srgbClr val="002060"/>
          </a:solidFill>
        </p:spPr>
        <p:txBody>
          <a:bodyPr/>
          <a:lstStyle/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t>2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97586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E2D7D58-485F-4449-ADCE-1A736888DF34}"/>
              </a:ext>
            </a:extLst>
          </p:cNvPr>
          <p:cNvSpPr/>
          <p:nvPr/>
        </p:nvSpPr>
        <p:spPr>
          <a:xfrm>
            <a:off x="2950589" y="1866508"/>
            <a:ext cx="5241303" cy="2752626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b="1" dirty="0" err="1">
                <a:latin typeface="Aharoni" panose="02010803020104030203" pitchFamily="2" charset="-79"/>
                <a:cs typeface="Aharoni" panose="02010803020104030203" pitchFamily="2" charset="-79"/>
              </a:rPr>
              <a:t>Thank</a:t>
            </a:r>
            <a:r>
              <a:rPr lang="fr-FR" sz="3200" b="1" dirty="0">
                <a:latin typeface="Aharoni" panose="02010803020104030203" pitchFamily="2" charset="-79"/>
                <a:cs typeface="Aharoni" panose="02010803020104030203" pitchFamily="2" charset="-79"/>
              </a:rPr>
              <a:t> </a:t>
            </a:r>
            <a:r>
              <a:rPr lang="fr-FR" sz="3200" b="1" dirty="0" err="1">
                <a:latin typeface="Aharoni" panose="02010803020104030203" pitchFamily="2" charset="-79"/>
                <a:cs typeface="Aharoni" panose="02010803020104030203" pitchFamily="2" charset="-79"/>
              </a:rPr>
              <a:t>you</a:t>
            </a:r>
            <a:r>
              <a:rPr lang="fr-FR" sz="3200" b="1" dirty="0">
                <a:latin typeface="Aharoni" panose="02010803020104030203" pitchFamily="2" charset="-79"/>
                <a:cs typeface="Aharoni" panose="02010803020104030203" pitchFamily="2" charset="-79"/>
              </a:rPr>
              <a:t>  </a:t>
            </a:r>
          </a:p>
        </p:txBody>
      </p:sp>
      <p:sp>
        <p:nvSpPr>
          <p:cNvPr id="4" name="Espace réservé du numéro de diapositive 6">
            <a:extLst>
              <a:ext uri="{FF2B5EF4-FFF2-40B4-BE49-F238E27FC236}">
                <a16:creationId xmlns:a16="http://schemas.microsoft.com/office/drawing/2014/main" xmlns="" id="{8CCCB106-5367-4170-BF31-B8AD65D966E1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20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5020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820131" y="40176"/>
            <a:ext cx="11371869" cy="550979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he context of digital skills developement </a:t>
            </a:r>
            <a:endParaRPr lang="fr-MA" sz="2800" b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2" descr="http://www.mmsp.gov.ma/ar/images/logo/tag.png">
            <a:extLst>
              <a:ext uri="{FF2B5EF4-FFF2-40B4-BE49-F238E27FC236}">
                <a16:creationId xmlns:a16="http://schemas.microsoft.com/office/drawing/2014/main" xmlns="" id="{B02C56D4-7D2C-407E-A1C8-A5E88E1F99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0" y="-18076"/>
            <a:ext cx="725864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Espace réservé du numéro de diapositive 6">
            <a:extLst>
              <a:ext uri="{FF2B5EF4-FFF2-40B4-BE49-F238E27FC236}">
                <a16:creationId xmlns:a16="http://schemas.microsoft.com/office/drawing/2014/main" xmlns="" id="{DEB6CACA-8AF6-4313-9165-6CDC9F8785B1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3</a:t>
            </a:fld>
            <a:endParaRPr lang="fr-MA" sz="1400" b="1" dirty="0">
              <a:solidFill>
                <a:schemeClr val="bg1"/>
              </a:solidFill>
            </a:endParaRPr>
          </a:p>
        </p:txBody>
      </p:sp>
      <p:sp>
        <p:nvSpPr>
          <p:cNvPr id="23" name="ZoneTexte 22">
            <a:extLst>
              <a:ext uri="{FF2B5EF4-FFF2-40B4-BE49-F238E27FC236}">
                <a16:creationId xmlns:a16="http://schemas.microsoft.com/office/drawing/2014/main" xmlns="" id="{874F59D1-D0F2-4D93-AAC0-D4776C38C5ED}"/>
              </a:ext>
            </a:extLst>
          </p:cNvPr>
          <p:cNvSpPr txBox="1"/>
          <p:nvPr/>
        </p:nvSpPr>
        <p:spPr>
          <a:xfrm>
            <a:off x="1451728" y="2472259"/>
            <a:ext cx="8990028" cy="4247317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just"/>
            <a:endParaRPr lang="en-US" dirty="0">
              <a:solidFill>
                <a:srgbClr val="002060"/>
              </a:solidFill>
              <a:latin typeface="Roboto" panose="02000000000000000000" pitchFamily="2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US" sz="24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4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The uncertainties and complexities caused by an</a:t>
            </a:r>
            <a:r>
              <a:rPr lang="en-US" sz="2400" dirty="0">
                <a:solidFill>
                  <a:srgbClr val="002060"/>
                </a:solidFill>
                <a:latin typeface="Roboto" panose="02000000000000000000" pitchFamily="2" charset="0"/>
              </a:rPr>
              <a:t> environment that is very </a:t>
            </a:r>
            <a:r>
              <a:rPr lang="en-US" sz="24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dynamic and turbulent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</a:rPr>
              <a:t>The New ICT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400" dirty="0">
                <a:solidFill>
                  <a:srgbClr val="002060"/>
                </a:solidFill>
                <a:latin typeface="Roboto" panose="02000000000000000000" pitchFamily="2" charset="0"/>
              </a:rPr>
              <a:t>The adoption of the digitalization as a strategic choice</a:t>
            </a:r>
            <a:endParaRPr lang="fr-FR" sz="2400" dirty="0">
              <a:solidFill>
                <a:srgbClr val="002060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Roboto" panose="02000000000000000000" pitchFamily="2" charset="0"/>
              </a:rPr>
              <a:t>The adoption of new management and organisational model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Roboto" panose="02000000000000000000" pitchFamily="2" charset="0"/>
              </a:rPr>
              <a:t>New digital job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Roboto" panose="02000000000000000000" pitchFamily="2" charset="0"/>
              </a:rPr>
              <a:t>High expectations of quality service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sz="2400" dirty="0">
                <a:solidFill>
                  <a:srgbClr val="002060"/>
                </a:solidFill>
                <a:latin typeface="Roboto" panose="02000000000000000000" pitchFamily="2" charset="0"/>
              </a:rPr>
              <a:t>International agendas and </a:t>
            </a:r>
            <a:r>
              <a:rPr lang="fr-FR" sz="2400" dirty="0" err="1">
                <a:solidFill>
                  <a:srgbClr val="002060"/>
                </a:solidFill>
                <a:latin typeface="Roboto" panose="02000000000000000000" pitchFamily="2" charset="0"/>
              </a:rPr>
              <a:t>commitments</a:t>
            </a:r>
            <a:r>
              <a:rPr lang="fr-FR" sz="2400" dirty="0">
                <a:solidFill>
                  <a:srgbClr val="002060"/>
                </a:solidFill>
                <a:latin typeface="Roboto" panose="02000000000000000000" pitchFamily="2" charset="0"/>
              </a:rPr>
              <a:t> </a:t>
            </a:r>
          </a:p>
          <a:p>
            <a:pPr lvl="0"/>
            <a:endParaRPr lang="fr-FR" sz="1800" b="1" i="0" dirty="0"/>
          </a:p>
          <a:p>
            <a:pPr lvl="0"/>
            <a:r>
              <a:rPr lang="fr-FR" sz="1800" b="1" i="0" dirty="0"/>
              <a:t> </a:t>
            </a:r>
            <a:endParaRPr lang="fr-MA" sz="1800" b="1" dirty="0">
              <a:solidFill>
                <a:schemeClr val="bg1"/>
              </a:solidFill>
            </a:endParaRPr>
          </a:p>
        </p:txBody>
      </p:sp>
      <p:sp>
        <p:nvSpPr>
          <p:cNvPr id="37" name="ZoneTexte 36">
            <a:extLst>
              <a:ext uri="{FF2B5EF4-FFF2-40B4-BE49-F238E27FC236}">
                <a16:creationId xmlns:a16="http://schemas.microsoft.com/office/drawing/2014/main" xmlns="" id="{D2EB8938-E90F-4483-8776-7748601CC94E}"/>
              </a:ext>
            </a:extLst>
          </p:cNvPr>
          <p:cNvSpPr txBox="1"/>
          <p:nvPr/>
        </p:nvSpPr>
        <p:spPr>
          <a:xfrm>
            <a:off x="1129056" y="1103091"/>
            <a:ext cx="9783059" cy="830997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lvl="0" algn="ctr"/>
            <a:r>
              <a:rPr lang="fr-FR" sz="2400" b="1" i="0" dirty="0">
                <a:solidFill>
                  <a:srgbClr val="002060"/>
                </a:solidFill>
              </a:rPr>
              <a:t>The </a:t>
            </a:r>
            <a:r>
              <a:rPr lang="fr-FR" sz="2400" b="1" i="0" dirty="0" err="1">
                <a:solidFill>
                  <a:srgbClr val="002060"/>
                </a:solidFill>
              </a:rPr>
              <a:t>need</a:t>
            </a:r>
            <a:r>
              <a:rPr lang="fr-FR" sz="2400" b="1" i="0" dirty="0">
                <a:solidFill>
                  <a:srgbClr val="002060"/>
                </a:solidFill>
              </a:rPr>
              <a:t> to develop and make use of digital talents and Skills to meet the challenge of sustainable development</a:t>
            </a:r>
            <a:endParaRPr lang="fr-FR" sz="2800" b="1" i="0" dirty="0">
              <a:solidFill>
                <a:srgbClr val="002060"/>
              </a:solidFill>
            </a:endParaRPr>
          </a:p>
        </p:txBody>
      </p:sp>
      <p:sp>
        <p:nvSpPr>
          <p:cNvPr id="38" name="Triangle isocèle 37">
            <a:extLst>
              <a:ext uri="{FF2B5EF4-FFF2-40B4-BE49-F238E27FC236}">
                <a16:creationId xmlns:a16="http://schemas.microsoft.com/office/drawing/2014/main" xmlns="" id="{8E31817D-1184-4C45-B0F3-8803CF4E46E7}"/>
              </a:ext>
            </a:extLst>
          </p:cNvPr>
          <p:cNvSpPr/>
          <p:nvPr/>
        </p:nvSpPr>
        <p:spPr>
          <a:xfrm>
            <a:off x="3238893" y="1934088"/>
            <a:ext cx="5714214" cy="538171"/>
          </a:xfrm>
          <a:prstGeom prst="triangle">
            <a:avLst>
              <a:gd name="adj" fmla="val 45829"/>
            </a:avLst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9351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46F26D78-ED4B-4491-A2BF-DCC433D369C6}"/>
              </a:ext>
            </a:extLst>
          </p:cNvPr>
          <p:cNvSpPr/>
          <p:nvPr/>
        </p:nvSpPr>
        <p:spPr>
          <a:xfrm>
            <a:off x="1791094" y="1143088"/>
            <a:ext cx="7843100" cy="34861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24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Strategic fi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D8AEE958-7BBC-4169-985B-6E46BF92A99D}"/>
              </a:ext>
            </a:extLst>
          </p:cNvPr>
          <p:cNvSpPr/>
          <p:nvPr/>
        </p:nvSpPr>
        <p:spPr>
          <a:xfrm>
            <a:off x="1791093" y="1659205"/>
            <a:ext cx="7843100" cy="348615"/>
          </a:xfrm>
          <a:prstGeom prst="rect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2000" b="1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mpetency based management</a:t>
            </a:r>
            <a:endParaRPr lang="fr-FR" sz="20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xmlns="" id="{60264379-0E7B-46A2-8CA7-33FC05D072EE}"/>
              </a:ext>
            </a:extLst>
          </p:cNvPr>
          <p:cNvSpPr/>
          <p:nvPr/>
        </p:nvSpPr>
        <p:spPr>
          <a:xfrm>
            <a:off x="149501" y="1143089"/>
            <a:ext cx="1450985" cy="503723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24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Strategic </a:t>
            </a:r>
            <a:r>
              <a:rPr lang="fr-FR" sz="2400" b="1" dirty="0" err="1">
                <a:effectLst/>
                <a:ea typeface="Calibri" panose="020F0502020204030204" pitchFamily="34" charset="0"/>
                <a:cs typeface="Arial" panose="020B0604020202020204" pitchFamily="34" charset="0"/>
              </a:rPr>
              <a:t>needs</a:t>
            </a:r>
            <a:r>
              <a:rPr lang="fr-FR" sz="24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2400" b="1" dirty="0" err="1">
                <a:ea typeface="Calibri" panose="020F0502020204030204" pitchFamily="34" charset="0"/>
                <a:cs typeface="Arial" panose="020B0604020202020204" pitchFamily="34" charset="0"/>
              </a:rPr>
              <a:t>Ensure</a:t>
            </a:r>
            <a:r>
              <a:rPr lang="fr-FR" sz="2400" b="1" dirty="0">
                <a:ea typeface="Calibri" panose="020F0502020204030204" pitchFamily="34" charset="0"/>
                <a:cs typeface="Arial" panose="020B0604020202020204" pitchFamily="34" charset="0"/>
              </a:rPr>
              <a:t> the digital transition</a:t>
            </a:r>
            <a:endParaRPr lang="fr-FR" sz="2400" b="1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riangle isocèle 41">
            <a:extLst>
              <a:ext uri="{FF2B5EF4-FFF2-40B4-BE49-F238E27FC236}">
                <a16:creationId xmlns:a16="http://schemas.microsoft.com/office/drawing/2014/main" xmlns="" id="{8E46D3D6-E9EC-4361-958D-82A9165BF191}"/>
              </a:ext>
            </a:extLst>
          </p:cNvPr>
          <p:cNvSpPr/>
          <p:nvPr/>
        </p:nvSpPr>
        <p:spPr>
          <a:xfrm rot="5400000">
            <a:off x="889594" y="3040253"/>
            <a:ext cx="1701346" cy="259514"/>
          </a:xfrm>
          <a:prstGeom prst="triangle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23608184-29AC-4E21-9098-B95132E5DEB0}"/>
              </a:ext>
            </a:extLst>
          </p:cNvPr>
          <p:cNvSpPr/>
          <p:nvPr/>
        </p:nvSpPr>
        <p:spPr>
          <a:xfrm>
            <a:off x="9836650" y="1143089"/>
            <a:ext cx="1805453" cy="4969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20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Performance and organisational excellence</a:t>
            </a:r>
          </a:p>
        </p:txBody>
      </p:sp>
      <p:sp>
        <p:nvSpPr>
          <p:cNvPr id="44" name="Triangle isocèle 43">
            <a:extLst>
              <a:ext uri="{FF2B5EF4-FFF2-40B4-BE49-F238E27FC236}">
                <a16:creationId xmlns:a16="http://schemas.microsoft.com/office/drawing/2014/main" xmlns="" id="{DA23D5B4-A70C-4E12-89F0-782161FBE5A2}"/>
              </a:ext>
            </a:extLst>
          </p:cNvPr>
          <p:cNvSpPr/>
          <p:nvPr/>
        </p:nvSpPr>
        <p:spPr>
          <a:xfrm rot="16200000">
            <a:off x="8783133" y="2872606"/>
            <a:ext cx="1835149" cy="205663"/>
          </a:xfrm>
          <a:prstGeom prst="triangle">
            <a:avLst>
              <a:gd name="adj" fmla="val 48139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08A8A92F-B171-4739-9856-34115FE47445}"/>
              </a:ext>
            </a:extLst>
          </p:cNvPr>
          <p:cNvSpPr/>
          <p:nvPr/>
        </p:nvSpPr>
        <p:spPr>
          <a:xfrm>
            <a:off x="1843732" y="5570237"/>
            <a:ext cx="7843100" cy="610088"/>
          </a:xfrm>
          <a:prstGeom prst="rect">
            <a:avLst/>
          </a:prstGeom>
          <a:solidFill>
            <a:srgbClr val="FF0000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2000" b="1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NEW Role of HR professionals: </a:t>
            </a:r>
            <a:r>
              <a:rPr lang="fr-FR" sz="2000" b="1" dirty="0">
                <a:solidFill>
                  <a:srgbClr val="FFFFFF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facilitaters of the </a:t>
            </a:r>
            <a:r>
              <a:rPr lang="fr-FR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gital transformation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xmlns="" id="{C1D01A93-B1A2-4F18-B5CE-0170BFE0F7CD}"/>
              </a:ext>
            </a:extLst>
          </p:cNvPr>
          <p:cNvSpPr txBox="1"/>
          <p:nvPr/>
        </p:nvSpPr>
        <p:spPr>
          <a:xfrm>
            <a:off x="801278" y="-18076"/>
            <a:ext cx="11390722" cy="523220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Digital competencies management</a:t>
            </a:r>
          </a:p>
        </p:txBody>
      </p:sp>
      <p:pic>
        <p:nvPicPr>
          <p:cNvPr id="19" name="Picture 2" descr="http://www.mmsp.gov.ma/ar/images/logo/tag.png">
            <a:extLst>
              <a:ext uri="{FF2B5EF4-FFF2-40B4-BE49-F238E27FC236}">
                <a16:creationId xmlns:a16="http://schemas.microsoft.com/office/drawing/2014/main" xmlns="" id="{57C6C1BC-5171-4595-90EE-91063F8422C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22978" y="0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D34897A-3DBA-401F-BC71-C9F9243631BD}"/>
              </a:ext>
            </a:extLst>
          </p:cNvPr>
          <p:cNvSpPr/>
          <p:nvPr/>
        </p:nvSpPr>
        <p:spPr>
          <a:xfrm>
            <a:off x="1929014" y="2088127"/>
            <a:ext cx="1330816" cy="341394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90170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2060"/>
                </a:solidFill>
                <a:latin typeface="Roboto" panose="02000000000000000000" pitchFamily="2" charset="0"/>
              </a:rPr>
              <a:t>Supply management :</a:t>
            </a:r>
          </a:p>
          <a:p>
            <a:pPr indent="-90170">
              <a:lnSpc>
                <a:spcPct val="107000"/>
              </a:lnSpc>
              <a:spcAft>
                <a:spcPts val="800"/>
              </a:spcAft>
            </a:pPr>
            <a:r>
              <a:rPr lang="en-US" sz="1400" b="1" dirty="0">
                <a:solidFill>
                  <a:srgbClr val="002060"/>
                </a:solidFill>
                <a:latin typeface="Roboto" panose="02000000000000000000" pitchFamily="2" charset="0"/>
              </a:rPr>
              <a:t>HR planning Selection and recruitment</a:t>
            </a:r>
            <a:endParaRPr lang="fr-FR" b="1" dirty="0">
              <a:solidFill>
                <a:srgbClr val="002060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4CA1AAAE-AB45-49CF-B231-7F8E7AD5E931}"/>
              </a:ext>
            </a:extLst>
          </p:cNvPr>
          <p:cNvSpPr/>
          <p:nvPr/>
        </p:nvSpPr>
        <p:spPr>
          <a:xfrm>
            <a:off x="3452748" y="2100265"/>
            <a:ext cx="1330816" cy="3401807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r-FR" sz="1600" b="1" dirty="0">
                <a:solidFill>
                  <a:srgbClr val="00206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Training and skills </a:t>
            </a:r>
            <a:r>
              <a:rPr lang="fr-FR" sz="1600" b="1" dirty="0" err="1">
                <a:solidFill>
                  <a:srgbClr val="00206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upgrading</a:t>
            </a:r>
            <a:r>
              <a:rPr lang="fr-FR" sz="1600" b="1" dirty="0">
                <a:solidFill>
                  <a:srgbClr val="002060"/>
                </a:solidFill>
                <a:effectLst/>
                <a:ea typeface="Calibri" panose="020F0502020204030204" pitchFamily="34" charset="0"/>
                <a:cs typeface="Arial" panose="020B0604020202020204" pitchFamily="34" charset="0"/>
              </a:rPr>
              <a:t> management </a:t>
            </a: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407437CC-85DE-41C3-BD71-08C33B45DEC4}"/>
              </a:ext>
            </a:extLst>
          </p:cNvPr>
          <p:cNvSpPr/>
          <p:nvPr/>
        </p:nvSpPr>
        <p:spPr>
          <a:xfrm>
            <a:off x="5001557" y="2088126"/>
            <a:ext cx="1434021" cy="340180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6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formance management </a:t>
            </a: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7CA2ADE5-AF3F-4243-87A4-A569DDC464B8}"/>
              </a:ext>
            </a:extLst>
          </p:cNvPr>
          <p:cNvSpPr/>
          <p:nvPr/>
        </p:nvSpPr>
        <p:spPr>
          <a:xfrm>
            <a:off x="6554184" y="2100266"/>
            <a:ext cx="1450985" cy="340180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rrer path management </a:t>
            </a:r>
            <a:endParaRPr lang="fr-FR" sz="24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992CBADD-2F33-432F-93BB-DAFDE557467B}"/>
              </a:ext>
            </a:extLst>
          </p:cNvPr>
          <p:cNvSpPr/>
          <p:nvPr/>
        </p:nvSpPr>
        <p:spPr>
          <a:xfrm>
            <a:off x="8206198" y="2088126"/>
            <a:ext cx="1330816" cy="3401805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fr-FR" sz="1600" b="1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ward management </a:t>
            </a:r>
            <a:endParaRPr lang="fr-FR" sz="2000" b="1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fr-FR" dirty="0">
              <a:solidFill>
                <a:srgbClr val="002060"/>
              </a:solidFill>
            </a:endParaRPr>
          </a:p>
        </p:txBody>
      </p:sp>
      <p:sp>
        <p:nvSpPr>
          <p:cNvPr id="24" name="Espace réservé du numéro de diapositive 6">
            <a:extLst>
              <a:ext uri="{FF2B5EF4-FFF2-40B4-BE49-F238E27FC236}">
                <a16:creationId xmlns:a16="http://schemas.microsoft.com/office/drawing/2014/main" xmlns="" id="{7467CF17-35A7-465C-9BD2-593B4C8E7F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51602" y="6424144"/>
            <a:ext cx="644951" cy="393680"/>
          </a:xfrm>
          <a:solidFill>
            <a:srgbClr val="002060"/>
          </a:solidFill>
        </p:spPr>
        <p:txBody>
          <a:bodyPr/>
          <a:lstStyle/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t>4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38754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0069334"/>
              </p:ext>
            </p:extLst>
          </p:nvPr>
        </p:nvGraphicFramePr>
        <p:xfrm>
          <a:off x="0" y="796853"/>
          <a:ext cx="12192000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2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lvl="0" algn="ctr"/>
            <a:r>
              <a:rPr lang="fr-FR" sz="2800" b="1" dirty="0">
                <a:solidFill>
                  <a:schemeClr val="bg1"/>
                </a:solidFill>
              </a:rPr>
              <a:t>Role  of HR professionals</a:t>
            </a:r>
            <a:endParaRPr lang="fr-MA" sz="3600" b="1" dirty="0">
              <a:solidFill>
                <a:schemeClr val="bg1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D3E36A6A-5C3A-4C88-A249-0F17260A4010}"/>
              </a:ext>
            </a:extLst>
          </p:cNvPr>
          <p:cNvSpPr/>
          <p:nvPr/>
        </p:nvSpPr>
        <p:spPr>
          <a:xfrm flipH="1">
            <a:off x="-1" y="1741622"/>
            <a:ext cx="12191999" cy="5130670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endParaRPr lang="fr-FR" sz="1800" b="1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800"/>
              </a:spcAft>
              <a:buFont typeface="Times New Roman" panose="02020603050405020304" pitchFamily="18" charset="0"/>
              <a:buChar char="•"/>
              <a:tabLst>
                <a:tab pos="457200" algn="l"/>
              </a:tabLst>
            </a:pPr>
            <a:endParaRPr lang="fr-FR" sz="20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0" lvl="3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support the digital transition and ensure the digitalization of human resources</a:t>
            </a:r>
          </a:p>
          <a:p>
            <a:pPr marL="1714500" lvl="3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implementation of solutions, such as a HRIS hosted in the Cloud and composed of modules perfectly integrated, paperless documents or HR analytics solutions ...</a:t>
            </a:r>
          </a:p>
          <a:p>
            <a:pPr marL="1714500" lvl="3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satisfaction of  the new needs of civil servants in terms of flexibility.</a:t>
            </a:r>
          </a:p>
          <a:p>
            <a:pPr marL="1714500" lvl="3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dirty="0">
                <a:solidFill>
                  <a:srgbClr val="002060"/>
                </a:solidFill>
                <a:latin typeface="Roboto" panose="02000000000000000000" pitchFamily="2" charset="0"/>
              </a:rPr>
              <a:t>Promotion of  the attractivity </a:t>
            </a:r>
          </a:p>
          <a:p>
            <a:pPr marL="1714500" lvl="3" indent="-342900">
              <a:lnSpc>
                <a:spcPct val="107000"/>
              </a:lnSpc>
              <a:spcAft>
                <a:spcPts val="800"/>
              </a:spcAft>
              <a:buFont typeface="Wingdings" panose="05000000000000000000" pitchFamily="2" charset="2"/>
              <a:buChar char="§"/>
              <a:tabLst>
                <a:tab pos="457200" algn="l"/>
              </a:tabLst>
            </a:pPr>
            <a:r>
              <a:rPr lang="en-US" sz="200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Development of training programs and skills development</a:t>
            </a:r>
            <a:endParaRPr lang="fr-FR" sz="1800" dirty="0">
              <a:solidFill>
                <a:srgbClr val="00206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ctr"/>
            <a:endParaRPr lang="fr-FR" dirty="0"/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97EAF92-566A-4CEA-8888-C05F6CC201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FC7D7EB5-A77F-456B-B533-6CC82B338F1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5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797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graphicFrame>
        <p:nvGraphicFramePr>
          <p:cNvPr id="5" name="Diagramme 4">
            <a:extLst>
              <a:ext uri="{FF2B5EF4-FFF2-40B4-BE49-F238E27FC236}">
                <a16:creationId xmlns:a16="http://schemas.microsoft.com/office/drawing/2014/main" xmlns="" id="{D087F036-64DC-417E-AE53-E6F698C207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50663655"/>
              </p:ext>
            </p:extLst>
          </p:nvPr>
        </p:nvGraphicFramePr>
        <p:xfrm>
          <a:off x="1551638" y="1249017"/>
          <a:ext cx="9088723" cy="4359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E4EE384-1690-40FA-B072-D1745B56A72C}"/>
              </a:ext>
            </a:extLst>
          </p:cNvPr>
          <p:cNvSpPr txBox="1"/>
          <p:nvPr/>
        </p:nvSpPr>
        <p:spPr>
          <a:xfrm>
            <a:off x="962024" y="66675"/>
            <a:ext cx="11229975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Strengthening the public administrations’ atractivity  </a:t>
            </a:r>
          </a:p>
        </p:txBody>
      </p:sp>
      <p:pic>
        <p:nvPicPr>
          <p:cNvPr id="6" name="Picture 2" descr="http://www.mmsp.gov.ma/ar/images/logo/tag.png">
            <a:extLst>
              <a:ext uri="{FF2B5EF4-FFF2-40B4-BE49-F238E27FC236}">
                <a16:creationId xmlns:a16="http://schemas.microsoft.com/office/drawing/2014/main" xmlns="" id="{9DB4DD9D-98AE-425E-9E63-F39BE523D2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Espace réservé du numéro de diapositive 6">
            <a:extLst>
              <a:ext uri="{FF2B5EF4-FFF2-40B4-BE49-F238E27FC236}">
                <a16:creationId xmlns:a16="http://schemas.microsoft.com/office/drawing/2014/main" xmlns="" id="{CFCE8E26-2DA8-4123-86F8-9AA855CE955A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6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673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44572730"/>
              </p:ext>
            </p:extLst>
          </p:nvPr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80388" y="0"/>
            <a:ext cx="11211612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Strengthening the public administrations’ atractivity  </a:t>
            </a:r>
          </a:p>
        </p:txBody>
      </p:sp>
      <p:pic>
        <p:nvPicPr>
          <p:cNvPr id="5" name="Picture 2" descr="http://www.mmsp.gov.ma/ar/images/logo/tag.png">
            <a:extLst>
              <a:ext uri="{FF2B5EF4-FFF2-40B4-BE49-F238E27FC236}">
                <a16:creationId xmlns:a16="http://schemas.microsoft.com/office/drawing/2014/main" xmlns="" id="{63D8BADB-1E3A-4BCB-AFDF-12AD8C4C33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 5" descr="Une image contenant texte, pièce, casino&#10;&#10;Description générée automatiquement">
            <a:extLst>
              <a:ext uri="{FF2B5EF4-FFF2-40B4-BE49-F238E27FC236}">
                <a16:creationId xmlns:a16="http://schemas.microsoft.com/office/drawing/2014/main" xmlns="" id="{C5FB61F1-B3F5-414F-AA6E-AD44598B542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3023"/>
            <a:ext cx="4034783" cy="6294976"/>
          </a:xfrm>
          <a:prstGeom prst="rect">
            <a:avLst/>
          </a:prstGeom>
        </p:spPr>
      </p:pic>
      <p:sp>
        <p:nvSpPr>
          <p:cNvPr id="9" name="Espace réservé du numéro de diapositive 6">
            <a:extLst>
              <a:ext uri="{FF2B5EF4-FFF2-40B4-BE49-F238E27FC236}">
                <a16:creationId xmlns:a16="http://schemas.microsoft.com/office/drawing/2014/main" xmlns="" id="{2D1D34DE-3A4C-46D3-BAA6-5B6D1036275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7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09386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xmlns="" id="{60A2FE22-3E63-4289-AD94-9410870E52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78949794"/>
              </p:ext>
            </p:extLst>
          </p:nvPr>
        </p:nvGraphicFramePr>
        <p:xfrm>
          <a:off x="0" y="532902"/>
          <a:ext cx="12191999" cy="63250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61534" y="0"/>
            <a:ext cx="1123046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fr-FR" sz="2800" b="1" dirty="0">
                <a:solidFill>
                  <a:schemeClr val="bg1"/>
                </a:solidFill>
              </a:rPr>
              <a:t>Strengthening the public administrations’ atractivity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6F872A0-C055-46A6-810D-D0340BA81D3D}"/>
              </a:ext>
            </a:extLst>
          </p:cNvPr>
          <p:cNvSpPr/>
          <p:nvPr/>
        </p:nvSpPr>
        <p:spPr>
          <a:xfrm>
            <a:off x="1074026" y="801278"/>
            <a:ext cx="5165889" cy="541098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lvl="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chemeClr val="bg1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rgbClr val="002060"/>
              </a:solidFill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rgbClr val="002060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lvl="0" indent="-285750">
              <a:buFont typeface="Wingdings" panose="05000000000000000000" pitchFamily="2" charset="2"/>
              <a:buChar char="§"/>
            </a:pPr>
            <a:r>
              <a:rPr lang="fr-FR" sz="2000" spc="-30" dirty="0">
                <a:solidFill>
                  <a:srgbClr val="00206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Maintain blalance between private and professional life ,</a:t>
            </a:r>
          </a:p>
          <a:p>
            <a:pPr lvl="0"/>
            <a:endParaRPr lang="fr-FR" sz="2000" spc="-30" dirty="0">
              <a:solidFill>
                <a:srgbClr val="002060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2000" spc="-30" dirty="0">
                <a:solidFill>
                  <a:srgbClr val="002060"/>
                </a:solidFill>
                <a:latin typeface="Poppins" panose="00000500000000000000" pitchFamily="2" charset="0"/>
              </a:rPr>
              <a:t>Flexibles horaires et lieu de travail,</a:t>
            </a:r>
          </a:p>
          <a:p>
            <a:endParaRPr lang="fr-FR" sz="1800" dirty="0">
              <a:solidFill>
                <a:srgbClr val="002060"/>
              </a:solidFill>
              <a:effectLst/>
              <a:latin typeface="Roboto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1800" dirty="0">
              <a:solidFill>
                <a:srgbClr val="002060"/>
              </a:solidFill>
              <a:effectLst/>
              <a:latin typeface="Roboto" panose="02000000000000000000" pitchFamily="2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2000" spc="-30" dirty="0">
                <a:solidFill>
                  <a:srgbClr val="002060"/>
                </a:solidFill>
                <a:latin typeface="Poppins" panose="00000500000000000000" pitchFamily="2" charset="0"/>
              </a:rPr>
              <a:t>Flexibility of  skills and  flexibility of behaviou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rgbClr val="002060"/>
              </a:solidFill>
              <a:latin typeface="Poppins" panose="00000500000000000000" pitchFamily="2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2000" spc="-30" dirty="0">
                <a:solidFill>
                  <a:srgbClr val="002060"/>
                </a:solidFill>
                <a:latin typeface="Poppins" panose="00000500000000000000" pitchFamily="2" charset="0"/>
              </a:rPr>
              <a:t>Flexible recruit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fr-FR" sz="2000" spc="-30" dirty="0">
              <a:solidFill>
                <a:schemeClr val="bg1"/>
              </a:solidFill>
              <a:latin typeface="Poppins" panose="00000500000000000000" pitchFamily="2" charset="0"/>
            </a:endParaRPr>
          </a:p>
        </p:txBody>
      </p:sp>
      <p:sp>
        <p:nvSpPr>
          <p:cNvPr id="5" name="Triangle isocèle 4">
            <a:extLst>
              <a:ext uri="{FF2B5EF4-FFF2-40B4-BE49-F238E27FC236}">
                <a16:creationId xmlns:a16="http://schemas.microsoft.com/office/drawing/2014/main" xmlns="" id="{FEE5C925-C840-4545-9300-4A404115F09A}"/>
              </a:ext>
            </a:extLst>
          </p:cNvPr>
          <p:cNvSpPr/>
          <p:nvPr/>
        </p:nvSpPr>
        <p:spPr>
          <a:xfrm rot="5400000">
            <a:off x="3737607" y="3067639"/>
            <a:ext cx="5410984" cy="878266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riangle isocèle 8">
            <a:extLst>
              <a:ext uri="{FF2B5EF4-FFF2-40B4-BE49-F238E27FC236}">
                <a16:creationId xmlns:a16="http://schemas.microsoft.com/office/drawing/2014/main" xmlns="" id="{71BBA81B-E3BF-4978-AF89-F5D38ECA26EC}"/>
              </a:ext>
            </a:extLst>
          </p:cNvPr>
          <p:cNvSpPr/>
          <p:nvPr/>
        </p:nvSpPr>
        <p:spPr>
          <a:xfrm rot="5400000">
            <a:off x="5023883" y="3297070"/>
            <a:ext cx="3112371" cy="680304"/>
          </a:xfrm>
          <a:prstGeom prst="triangl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BABFCBF5-3CD8-4315-BFFB-3DDEB87550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F04E04AB-570F-4F9A-BB82-36C4F9E597A4}"/>
              </a:ext>
            </a:extLst>
          </p:cNvPr>
          <p:cNvSpPr/>
          <p:nvPr/>
        </p:nvSpPr>
        <p:spPr>
          <a:xfrm>
            <a:off x="7219394" y="1681922"/>
            <a:ext cx="3118701" cy="3511486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3600" b="1" dirty="0">
                <a:solidFill>
                  <a:srgbClr val="002060"/>
                </a:solidFill>
              </a:rPr>
              <a:t>flexibility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xmlns="" id="{B82CB310-AF54-4D58-8D8D-CECAEC46F3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9394" y="2857105"/>
            <a:ext cx="2534493" cy="2325489"/>
          </a:xfrm>
          <a:prstGeom prst="rect">
            <a:avLst/>
          </a:prstGeom>
          <a:solidFill>
            <a:schemeClr val="accent2"/>
          </a:solidFill>
        </p:spPr>
      </p:pic>
      <p:sp>
        <p:nvSpPr>
          <p:cNvPr id="13" name="Espace réservé du numéro de diapositive 6">
            <a:extLst>
              <a:ext uri="{FF2B5EF4-FFF2-40B4-BE49-F238E27FC236}">
                <a16:creationId xmlns:a16="http://schemas.microsoft.com/office/drawing/2014/main" xmlns="" id="{EE3CD550-B2A7-4236-B36B-B3060F84766A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8</a:t>
            </a:fld>
            <a:endParaRPr lang="fr-MA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3462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xmlns="" id="{BFAE5371-1E67-45A6-A413-00BDDAFF39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8791" y="2072369"/>
            <a:ext cx="213520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ar-MA" altLang="fr-FR" sz="110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ا</a:t>
            </a:r>
            <a:endParaRPr lang="en-US" altLang="fr-FR">
              <a:latin typeface="Arial" panose="020B0604020202020204" pitchFamily="34" charset="0"/>
            </a:endParaRP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xmlns="" id="{C97A38FD-1DDF-480D-8924-132226E687A4}"/>
              </a:ext>
            </a:extLst>
          </p:cNvPr>
          <p:cNvSpPr txBox="1"/>
          <p:nvPr/>
        </p:nvSpPr>
        <p:spPr>
          <a:xfrm>
            <a:off x="989814" y="0"/>
            <a:ext cx="11202186" cy="53290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indent="-558800" algn="ctr" rtl="1">
              <a:lnSpc>
                <a:spcPct val="107000"/>
              </a:lnSpc>
              <a:spcAft>
                <a:spcPts val="800"/>
              </a:spcAft>
            </a:pPr>
            <a:r>
              <a:rPr lang="fr-FR" sz="2800" b="1" dirty="0">
                <a:solidFill>
                  <a:schemeClr val="bg1"/>
                </a:solidFill>
              </a:rPr>
              <a:t>Strengthening the public administrations’ atractivity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66F872A0-C055-46A6-810D-D0340BA81D3D}"/>
              </a:ext>
            </a:extLst>
          </p:cNvPr>
          <p:cNvSpPr/>
          <p:nvPr/>
        </p:nvSpPr>
        <p:spPr>
          <a:xfrm>
            <a:off x="636247" y="1483808"/>
            <a:ext cx="6314130" cy="4268737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lnSpc>
                <a:spcPct val="107000"/>
              </a:lnSpc>
            </a:pPr>
            <a:endParaRPr lang="fr-FR" sz="2000" dirty="0">
              <a:solidFill>
                <a:schemeClr val="bg1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</a:pPr>
            <a:endParaRPr lang="fr-FR" sz="2000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285750" indent="-285750" algn="just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Putting ethics at the center of HRM practices</a:t>
            </a:r>
          </a:p>
          <a:p>
            <a:pPr algn="just">
              <a:lnSpc>
                <a:spcPct val="107000"/>
              </a:lnSpc>
            </a:pPr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 algn="just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 HR digitization </a:t>
            </a:r>
          </a:p>
          <a:p>
            <a:pPr algn="just">
              <a:lnSpc>
                <a:spcPct val="107000"/>
              </a:lnSpc>
            </a:pPr>
            <a:endParaRPr lang="en-US" sz="2000" b="0" i="0" dirty="0">
              <a:solidFill>
                <a:srgbClr val="002060"/>
              </a:solidFill>
              <a:effectLst/>
              <a:latin typeface="Roboto" panose="02000000000000000000" pitchFamily="2" charset="0"/>
            </a:endParaRP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000" b="0" i="0" dirty="0">
                <a:solidFill>
                  <a:srgbClr val="002060"/>
                </a:solidFill>
                <a:effectLst/>
                <a:latin typeface="Roboto" panose="02000000000000000000" pitchFamily="2" charset="0"/>
              </a:rPr>
              <a:t>Adoption of a communication policy and training on unethical risks in order to improve the level of moral development of civil servants and encourage them to behave in an ethical manner </a:t>
            </a:r>
            <a:endParaRPr lang="fr-MA" sz="20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riangle isocèle 4">
            <a:extLst>
              <a:ext uri="{FF2B5EF4-FFF2-40B4-BE49-F238E27FC236}">
                <a16:creationId xmlns:a16="http://schemas.microsoft.com/office/drawing/2014/main" xmlns="" id="{FEE5C925-C840-4545-9300-4A404115F09A}"/>
              </a:ext>
            </a:extLst>
          </p:cNvPr>
          <p:cNvSpPr/>
          <p:nvPr/>
        </p:nvSpPr>
        <p:spPr>
          <a:xfrm rot="5400000">
            <a:off x="5089700" y="3353853"/>
            <a:ext cx="4268737" cy="673594"/>
          </a:xfrm>
          <a:prstGeom prst="triangl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9" name="Triangle isocèle 8">
            <a:extLst>
              <a:ext uri="{FF2B5EF4-FFF2-40B4-BE49-F238E27FC236}">
                <a16:creationId xmlns:a16="http://schemas.microsoft.com/office/drawing/2014/main" xmlns="" id="{71BBA81B-E3BF-4978-AF89-F5D38ECA26EC}"/>
              </a:ext>
            </a:extLst>
          </p:cNvPr>
          <p:cNvSpPr/>
          <p:nvPr/>
        </p:nvSpPr>
        <p:spPr>
          <a:xfrm rot="5400000">
            <a:off x="5679177" y="3565414"/>
            <a:ext cx="3091611" cy="381000"/>
          </a:xfrm>
          <a:prstGeom prst="triangl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8" name="Picture 2" descr="http://www.mmsp.gov.ma/ar/images/logo/tag.png">
            <a:extLst>
              <a:ext uri="{FF2B5EF4-FFF2-40B4-BE49-F238E27FC236}">
                <a16:creationId xmlns:a16="http://schemas.microsoft.com/office/drawing/2014/main" xmlns="" id="{0B46981E-6CA9-49DB-91B7-9087408570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5FAFA"/>
              </a:clrFrom>
              <a:clrTo>
                <a:srgbClr val="F5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44" t="12280" r="7997" b="12052"/>
          <a:stretch/>
        </p:blipFill>
        <p:spPr bwMode="auto">
          <a:xfrm>
            <a:off x="189445" y="-30119"/>
            <a:ext cx="695766" cy="548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Espace réservé du numéro de diapositive 6">
            <a:extLst>
              <a:ext uri="{FF2B5EF4-FFF2-40B4-BE49-F238E27FC236}">
                <a16:creationId xmlns:a16="http://schemas.microsoft.com/office/drawing/2014/main" xmlns="" id="{622499CB-1E71-4B31-BDEA-1EE3CE6A4146}"/>
              </a:ext>
            </a:extLst>
          </p:cNvPr>
          <p:cNvSpPr txBox="1">
            <a:spLocks/>
          </p:cNvSpPr>
          <p:nvPr/>
        </p:nvSpPr>
        <p:spPr>
          <a:xfrm>
            <a:off x="11451602" y="6424144"/>
            <a:ext cx="644951" cy="393680"/>
          </a:xfrm>
          <a:prstGeom prst="rect">
            <a:avLst/>
          </a:prstGeom>
          <a:solidFill>
            <a:srgbClr val="002060"/>
          </a:solidFill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3951B8-3449-4836-B839-9A517932A8FF}" type="slidenum">
              <a:rPr lang="fr-MA" sz="1400" b="1" smtClean="0">
                <a:solidFill>
                  <a:schemeClr val="bg1"/>
                </a:solidFill>
              </a:rPr>
              <a:pPr/>
              <a:t>9</a:t>
            </a:fld>
            <a:endParaRPr lang="fr-MA" sz="1400" b="1" dirty="0">
              <a:solidFill>
                <a:schemeClr val="bg1"/>
              </a:solidFill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xmlns="" id="{137467D4-E6B1-44C0-A048-56829B749ECB}"/>
              </a:ext>
            </a:extLst>
          </p:cNvPr>
          <p:cNvSpPr/>
          <p:nvPr/>
        </p:nvSpPr>
        <p:spPr>
          <a:xfrm>
            <a:off x="7645287" y="1483807"/>
            <a:ext cx="3255844" cy="4268738"/>
          </a:xfrm>
          <a:prstGeom prst="ellips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r-FR" sz="3600" b="1" dirty="0">
                <a:solidFill>
                  <a:srgbClr val="002060"/>
                </a:solidFill>
              </a:rPr>
              <a:t>Ethics</a:t>
            </a:r>
            <a:r>
              <a:rPr lang="fr-FR" sz="3600" b="1" dirty="0"/>
              <a:t> </a:t>
            </a:r>
          </a:p>
        </p:txBody>
      </p:sp>
      <p:pic>
        <p:nvPicPr>
          <p:cNvPr id="20" name="Image 19" descr="Une image contenant tableau blanc&#10;&#10;Description générée automatiquement">
            <a:extLst>
              <a:ext uri="{FF2B5EF4-FFF2-40B4-BE49-F238E27FC236}">
                <a16:creationId xmlns:a16="http://schemas.microsoft.com/office/drawing/2014/main" xmlns="" id="{142FD68D-969F-43EB-90B6-DF1EA4E2B4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100" y="2809758"/>
            <a:ext cx="3325731" cy="1892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129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90ZfzZD0Siz9zKx0Du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ZgPaBCGU28rE8xPUlX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KQzNrgtk2b7kXzQNYG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N.A6gAZECHolI93G9R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XBQguYXUez13lsFSPl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XBQguYXUez13lsFSPlX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84</TotalTime>
  <Words>1053</Words>
  <Application>Microsoft Office PowerPoint</Application>
  <PresentationFormat>Widescreen</PresentationFormat>
  <Paragraphs>239</Paragraphs>
  <Slides>20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4" baseType="lpstr">
      <vt:lpstr>Aharoni</vt:lpstr>
      <vt:lpstr>Arial</vt:lpstr>
      <vt:lpstr>Calibri</vt:lpstr>
      <vt:lpstr>Calibri Light</vt:lpstr>
      <vt:lpstr>Helvetica</vt:lpstr>
      <vt:lpstr>Khalid Art bold</vt:lpstr>
      <vt:lpstr>Poppins</vt:lpstr>
      <vt:lpstr>Roboto</vt:lpstr>
      <vt:lpstr>Sakkal Majalla</vt:lpstr>
      <vt:lpstr>Samir_Khouaja_Maghribi</vt:lpstr>
      <vt:lpstr>Times New Roman</vt:lpstr>
      <vt:lpstr>Wingdings</vt:lpstr>
      <vt:lpstr>Thème Office</vt:lpstr>
      <vt:lpstr>think-cell Slide</vt:lpstr>
      <vt:lpstr>25  November 202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SADIQ Jawad</dc:creator>
  <cp:lastModifiedBy>CSCU</cp:lastModifiedBy>
  <cp:revision>262</cp:revision>
  <dcterms:created xsi:type="dcterms:W3CDTF">2019-04-10T17:33:38Z</dcterms:created>
  <dcterms:modified xsi:type="dcterms:W3CDTF">2021-11-29T06:59:45Z</dcterms:modified>
</cp:coreProperties>
</file>